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wmf" ContentType="image/x-wmf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  <p:sldMasterId id="2147483652" r:id="rId5"/>
  </p:sldMasterIdLst>
  <p:notesMasterIdLst>
    <p:notesMasterId r:id="rId27"/>
  </p:notesMasterIdLst>
  <p:handoutMasterIdLst>
    <p:handoutMasterId r:id="rId28"/>
  </p:handoutMasterIdLst>
  <p:sldIdLst>
    <p:sldId id="323" r:id="rId6"/>
    <p:sldId id="314" r:id="rId7"/>
    <p:sldId id="327" r:id="rId8"/>
    <p:sldId id="328" r:id="rId9"/>
    <p:sldId id="316" r:id="rId10"/>
    <p:sldId id="317" r:id="rId11"/>
    <p:sldId id="318" r:id="rId12"/>
    <p:sldId id="329" r:id="rId13"/>
    <p:sldId id="319" r:id="rId14"/>
    <p:sldId id="320" r:id="rId15"/>
    <p:sldId id="321" r:id="rId16"/>
    <p:sldId id="324" r:id="rId17"/>
    <p:sldId id="303" r:id="rId18"/>
    <p:sldId id="304" r:id="rId19"/>
    <p:sldId id="305" r:id="rId20"/>
    <p:sldId id="306" r:id="rId21"/>
    <p:sldId id="310" r:id="rId22"/>
    <p:sldId id="311" r:id="rId23"/>
    <p:sldId id="312" r:id="rId24"/>
    <p:sldId id="307" r:id="rId25"/>
    <p:sldId id="308" r:id="rId26"/>
  </p:sldIdLst>
  <p:sldSz cx="9906000" cy="6858000" type="A4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965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310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57DA2"/>
    <a:srgbClr val="E93B47"/>
    <a:srgbClr val="FFD05B"/>
    <a:srgbClr val="6DA3C0"/>
    <a:srgbClr val="D1E2EB"/>
    <a:srgbClr val="FFFFFF"/>
    <a:srgbClr val="F75931"/>
    <a:srgbClr val="68BBCB"/>
    <a:srgbClr val="FFC072"/>
    <a:srgbClr val="F759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5758FB7-9AC5-4552-8A53-C91805E547FA}" styleName="主题样式 1 - 强调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599" autoAdjust="0"/>
    <p:restoredTop sz="96271"/>
  </p:normalViewPr>
  <p:slideViewPr>
    <p:cSldViewPr snapToGrid="0" showGuides="1">
      <p:cViewPr>
        <p:scale>
          <a:sx n="84" d="100"/>
          <a:sy n="84" d="100"/>
        </p:scale>
        <p:origin x="-2394" y="-798"/>
      </p:cViewPr>
      <p:guideLst>
        <p:guide orient="horz" pos="2160"/>
        <p:guide pos="310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82" d="100"/>
          <a:sy n="82" d="100"/>
        </p:scale>
        <p:origin x="-3168" y="-84"/>
      </p:cViewPr>
      <p:guideLst>
        <p:guide orient="horz" pos="3127"/>
        <p:guide pos="213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Workbook1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</c:spPr>
          <c:dPt>
            <c:idx val="0"/>
            <c:bubble3D val="0"/>
            <c:spPr>
              <a:solidFill>
                <a:schemeClr val="bg1">
                  <a:lumMod val="50000"/>
                </a:schemeClr>
              </a:solidFill>
            </c:spPr>
          </c:dPt>
          <c:dPt>
            <c:idx val="1"/>
            <c:bubble3D val="0"/>
          </c:dPt>
          <c:cat>
            <c:strRef>
              <c:f>Лист1!$A$2:$A$3</c:f>
              <c:strCache>
                <c:ptCount val="2"/>
                <c:pt idx="0">
                  <c:v>Бюджетные средства</c:v>
                </c:pt>
                <c:pt idx="1">
                  <c:v>Внебюджетные средства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74</c:v>
                </c:pt>
                <c:pt idx="1">
                  <c:v>38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en-US" sz="1800"/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0C4BAA-E369-44AD-87C0-64F34E7C73DA}" type="datetimeFigureOut">
              <a:rPr lang="ru-RU" smtClean="0"/>
              <a:t>09.11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B2E880-491A-4E3B-8D0D-90D32A07181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656479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3BA728-D73C-E140-8099-AC13A4281303}" type="datetimeFigureOut">
              <a:rPr lang="ru-RU" smtClean="0"/>
              <a:t>09.11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1425"/>
            <a:ext cx="48355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D2A862-1F40-B349-91D5-3B9B128B79E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759399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965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81075" y="1241425"/>
            <a:ext cx="48355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DCE24B-A888-534F-AD8F-E9B32620B190}" type="slidenum">
              <a:rPr lang="ru-RU" smtClean="0"/>
              <a:t>13</a:t>
            </a:fld>
            <a:endParaRPr lang="ru-RU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81075" y="1241425"/>
            <a:ext cx="48355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DCE24B-A888-534F-AD8F-E9B32620B190}" type="slidenum">
              <a:rPr lang="ru-RU" smtClean="0"/>
              <a:t>14</a:t>
            </a:fld>
            <a:endParaRPr lang="ru-RU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81075" y="1241425"/>
            <a:ext cx="48355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DCE24B-A888-534F-AD8F-E9B32620B190}" type="slidenum">
              <a:rPr lang="ru-RU" smtClean="0"/>
              <a:t>15</a:t>
            </a:fld>
            <a:endParaRPr lang="ru-RU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81075" y="1241425"/>
            <a:ext cx="48355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DCE24B-A888-534F-AD8F-E9B32620B190}" type="slidenum">
              <a:rPr lang="ru-RU" smtClean="0"/>
              <a:t>16</a:t>
            </a:fld>
            <a:endParaRPr lang="ru-RU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81075" y="1241425"/>
            <a:ext cx="48355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DCE24B-A888-534F-AD8F-E9B32620B190}" type="slidenum">
              <a:rPr lang="ru-RU" smtClean="0"/>
              <a:t>17</a:t>
            </a:fld>
            <a:endParaRPr lang="ru-RU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81075" y="1241425"/>
            <a:ext cx="48355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DCE24B-A888-534F-AD8F-E9B32620B190}" type="slidenum">
              <a:rPr lang="ru-RU" smtClean="0"/>
              <a:t>18</a:t>
            </a:fld>
            <a:endParaRPr lang="ru-RU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81075" y="1241425"/>
            <a:ext cx="48355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DCE24B-A888-534F-AD8F-E9B32620B190}" type="slidenum">
              <a:rPr lang="ru-RU" smtClean="0"/>
              <a:t>19</a:t>
            </a:fld>
            <a:endParaRPr lang="ru-RU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81075" y="1241425"/>
            <a:ext cx="48355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DCE24B-A888-534F-AD8F-E9B32620B190}" type="slidenum">
              <a:rPr lang="ru-RU" smtClean="0"/>
              <a:t>20</a:t>
            </a:fld>
            <a:endParaRPr lang="ru-RU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81075" y="1241425"/>
            <a:ext cx="48355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DCE24B-A888-534F-AD8F-E9B32620B190}" type="slidenum">
              <a:rPr lang="ru-RU" smtClean="0"/>
              <a:t>21</a:t>
            </a:fld>
            <a:endParaRPr lang="ru-RU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81690" y="2847059"/>
            <a:ext cx="8641984" cy="1456767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3700" b="0" i="0" cap="all" baseline="0">
                <a:solidFill>
                  <a:schemeClr val="tx1"/>
                </a:solidFill>
                <a:latin typeface="Calibri" panose="020F0502020204030204" charset="0"/>
                <a:ea typeface="Calibri" panose="020F0502020204030204" charset="0"/>
                <a:cs typeface="Calibri" panose="020F050202020403020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81690" y="4429134"/>
            <a:ext cx="8641984" cy="1314450"/>
          </a:xfrm>
        </p:spPr>
        <p:txBody>
          <a:bodyPr>
            <a:normAutofit/>
          </a:bodyPr>
          <a:lstStyle>
            <a:lvl1pPr marL="0" indent="0" algn="l">
              <a:buNone/>
              <a:defRPr sz="1700" b="0" i="0">
                <a:solidFill>
                  <a:schemeClr val="tx1"/>
                </a:solidFill>
                <a:latin typeface="+mj-lt"/>
                <a:ea typeface="Chevin Pro Thin" charset="0"/>
                <a:cs typeface="Chevin Pro Thin" charset="0"/>
              </a:defRPr>
            </a:lvl1pPr>
            <a:lvl2pPr marL="419735" indent="0" algn="ctr">
              <a:buNone/>
              <a:defRPr sz="1800"/>
            </a:lvl2pPr>
            <a:lvl3pPr marL="840105" indent="0" algn="ctr">
              <a:buNone/>
              <a:defRPr sz="1700"/>
            </a:lvl3pPr>
            <a:lvl4pPr marL="1259840" indent="0" algn="ctr">
              <a:buNone/>
              <a:defRPr sz="1500"/>
            </a:lvl4pPr>
            <a:lvl5pPr marL="1679575" indent="0" algn="ctr">
              <a:buNone/>
              <a:defRPr sz="1500"/>
            </a:lvl5pPr>
            <a:lvl6pPr marL="2099310" indent="0" algn="ctr">
              <a:buNone/>
              <a:defRPr sz="1500"/>
            </a:lvl6pPr>
            <a:lvl7pPr marL="2519680" indent="0" algn="ctr">
              <a:buNone/>
              <a:defRPr sz="1500"/>
            </a:lvl7pPr>
            <a:lvl8pPr marL="2939415" indent="0" algn="ctr">
              <a:buNone/>
              <a:defRPr sz="1500"/>
            </a:lvl8pPr>
            <a:lvl9pPr marL="3359150" indent="0" algn="ctr">
              <a:buNone/>
              <a:defRPr sz="15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 flipV="1">
            <a:off x="682331" y="4303843"/>
            <a:ext cx="2709080" cy="1"/>
          </a:xfrm>
          <a:prstGeom prst="line">
            <a:avLst/>
          </a:prstGeom>
          <a:ln>
            <a:solidFill>
              <a:schemeClr val="tx1">
                <a:alpha val="29804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682328" y="4303832"/>
            <a:ext cx="526666" cy="0"/>
          </a:xfrm>
          <a:prstGeom prst="line">
            <a:avLst/>
          </a:prstGeom>
          <a:ln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Изображение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2673"/>
          <a:stretch>
            <a:fillRect/>
          </a:stretch>
        </p:blipFill>
        <p:spPr>
          <a:xfrm>
            <a:off x="680633" y="852941"/>
            <a:ext cx="1852881" cy="346527"/>
          </a:xfrm>
          <a:prstGeom prst="rect">
            <a:avLst/>
          </a:prstGeom>
        </p:spPr>
      </p:pic>
      <p:grpSp>
        <p:nvGrpSpPr>
          <p:cNvPr id="12" name="Группа 11"/>
          <p:cNvGrpSpPr/>
          <p:nvPr userDrawn="1"/>
        </p:nvGrpSpPr>
        <p:grpSpPr>
          <a:xfrm>
            <a:off x="702967" y="709768"/>
            <a:ext cx="526666" cy="8"/>
            <a:chOff x="839788" y="214466"/>
            <a:chExt cx="648204" cy="8"/>
          </a:xfrm>
        </p:grpSpPr>
        <p:cxnSp>
          <p:nvCxnSpPr>
            <p:cNvPr id="16" name="Прямая соединительная линия 15"/>
            <p:cNvCxnSpPr/>
            <p:nvPr userDrawn="1"/>
          </p:nvCxnSpPr>
          <p:spPr>
            <a:xfrm>
              <a:off x="839789" y="214474"/>
              <a:ext cx="648203" cy="0"/>
            </a:xfrm>
            <a:prstGeom prst="line">
              <a:avLst/>
            </a:prstGeom>
            <a:ln>
              <a:solidFill>
                <a:schemeClr val="tx1">
                  <a:alpha val="29804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Прямая соединительная линия 19"/>
            <p:cNvCxnSpPr/>
            <p:nvPr userDrawn="1"/>
          </p:nvCxnSpPr>
          <p:spPr>
            <a:xfrm>
              <a:off x="839788" y="214466"/>
              <a:ext cx="265112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ацентный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2619" y="234062"/>
            <a:ext cx="6756127" cy="662780"/>
          </a:xfrm>
        </p:spPr>
        <p:txBody>
          <a:bodyPr>
            <a:normAutofit/>
          </a:bodyPr>
          <a:lstStyle>
            <a:lvl1pPr>
              <a:defRPr sz="2600" cap="all" baseline="0">
                <a:solidFill>
                  <a:schemeClr val="tx1"/>
                </a:solidFill>
                <a:latin typeface="Calibri" panose="020F0502020204030204" charset="0"/>
                <a:ea typeface="Calibri" panose="020F0502020204030204" charset="0"/>
                <a:cs typeface="Calibri" panose="020F050202020403020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96397" y="1736728"/>
            <a:ext cx="8721437" cy="4351338"/>
          </a:xfrm>
        </p:spPr>
        <p:txBody>
          <a:bodyPr/>
          <a:lstStyle>
            <a:lvl1pPr marL="330835" indent="-330835">
              <a:lnSpc>
                <a:spcPct val="100000"/>
              </a:lnSpc>
              <a:spcBef>
                <a:spcPts val="0"/>
              </a:spcBef>
              <a:spcAft>
                <a:spcPts val="1110"/>
              </a:spcAft>
              <a:buFont typeface="Arial" panose="020B0604020202020204" pitchFamily="34" charset="0"/>
              <a:buChar char="•"/>
              <a:defRPr sz="1800" b="0" i="0">
                <a:latin typeface="+mj-lt"/>
                <a:ea typeface="Calibri" panose="020F0502020204030204" charset="0"/>
                <a:cs typeface="Calibri" panose="020F0502020204030204" charset="0"/>
              </a:defRPr>
            </a:lvl1pPr>
            <a:lvl2pPr marL="714375" indent="-274320">
              <a:lnSpc>
                <a:spcPct val="100000"/>
              </a:lnSpc>
              <a:spcBef>
                <a:spcPts val="0"/>
              </a:spcBef>
              <a:spcAft>
                <a:spcPts val="925"/>
              </a:spcAft>
              <a:buSzPct val="100000"/>
              <a:buFont typeface="Calibri Light" panose="020F0302020204030204" pitchFamily="34" charset="0"/>
              <a:buChar char="-"/>
              <a:defRPr sz="1700" b="0" i="0">
                <a:latin typeface="+mj-lt"/>
                <a:ea typeface="Calibri" panose="020F0502020204030204" charset="0"/>
                <a:cs typeface="Calibri" panose="020F0502020204030204" charset="0"/>
              </a:defRPr>
            </a:lvl2pPr>
            <a:lvl3pPr marL="1101090" indent="-221615">
              <a:spcBef>
                <a:spcPts val="0"/>
              </a:spcBef>
              <a:spcAft>
                <a:spcPts val="830"/>
              </a:spcAft>
              <a:buSzPct val="85000"/>
              <a:buFont typeface="Wingdings" panose="05000000000000000000" pitchFamily="2" charset="2"/>
              <a:buChar char="§"/>
              <a:defRPr sz="1500" b="0" i="0">
                <a:latin typeface="+mj-lt"/>
                <a:ea typeface="Calibri" panose="020F0502020204030204" charset="0"/>
                <a:cs typeface="Calibri" panose="020F0502020204030204" charset="0"/>
              </a:defRPr>
            </a:lvl3pPr>
            <a:lvl4pPr marL="1469390" indent="-210185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  <a:defRPr sz="1300" b="0" i="0" baseline="0">
                <a:latin typeface="+mj-lt"/>
                <a:ea typeface="Calibri" panose="020F0502020204030204" charset="0"/>
                <a:cs typeface="Calibri" panose="020F0502020204030204" charset="0"/>
              </a:defRPr>
            </a:lvl4pPr>
            <a:lvl5pPr>
              <a:defRPr sz="1300" b="0" i="0">
                <a:latin typeface="+mj-lt"/>
                <a:ea typeface="Calibri" panose="020F0502020204030204" charset="0"/>
                <a:cs typeface="Calibri" panose="020F050202020403020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11254" y="6412485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9F9FE868-178E-0F4D-8A9A-79941EADC299}" type="datetime1">
              <a:rPr lang="ru-RU" smtClean="0">
                <a:solidFill>
                  <a:srgbClr val="0C0C0C">
                    <a:tint val="75000"/>
                  </a:srgbClr>
                </a:solidFill>
              </a:rPr>
              <a:t>09.11.2023</a:t>
            </a:fld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281365" y="6412485"/>
            <a:ext cx="3343275" cy="365125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ru-RU" dirty="0" smtClean="0">
                <a:solidFill>
                  <a:srgbClr val="0C0C0C">
                    <a:tint val="75000"/>
                  </a:srgbClr>
                </a:solidFill>
              </a:rPr>
              <a:t>Национальная технологическая инициатива</a:t>
            </a:r>
            <a:endParaRPr lang="ru-RU" dirty="0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091220" y="6412485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3EF660E9-E116-4F2D-91B7-27BAC0D3A970}" type="slidenum">
              <a:rPr lang="ru-RU" smtClean="0">
                <a:solidFill>
                  <a:srgbClr val="0C0C0C">
                    <a:tint val="75000"/>
                  </a:srgbClr>
                </a:solidFill>
              </a:rPr>
              <a:t>‹#›</a:t>
            </a:fld>
            <a:endParaRPr lang="ru-RU" dirty="0">
              <a:solidFill>
                <a:srgbClr val="0C0C0C">
                  <a:tint val="75000"/>
                </a:srgbClr>
              </a:solidFill>
            </a:endParaRPr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681038" y="846046"/>
            <a:ext cx="8540566" cy="1"/>
            <a:chOff x="658813" y="800103"/>
            <a:chExt cx="10511466" cy="1"/>
          </a:xfrm>
        </p:grpSpPr>
        <p:cxnSp>
          <p:nvCxnSpPr>
            <p:cNvPr id="8" name="Прямая соединительная линия 7"/>
            <p:cNvCxnSpPr/>
            <p:nvPr/>
          </p:nvCxnSpPr>
          <p:spPr>
            <a:xfrm flipV="1">
              <a:off x="658814" y="800103"/>
              <a:ext cx="1051146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Прямая соединительная линия 8"/>
            <p:cNvCxnSpPr/>
            <p:nvPr/>
          </p:nvCxnSpPr>
          <p:spPr>
            <a:xfrm rot="16200000">
              <a:off x="1357457" y="101459"/>
              <a:ext cx="0" cy="1397287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Изображение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975"/>
          <a:stretch>
            <a:fillRect/>
          </a:stretch>
        </p:blipFill>
        <p:spPr>
          <a:xfrm>
            <a:off x="7449373" y="422524"/>
            <a:ext cx="1777754" cy="321108"/>
          </a:xfrm>
          <a:prstGeom prst="rect">
            <a:avLst/>
          </a:prstGeom>
        </p:spPr>
      </p:pic>
      <p:grpSp>
        <p:nvGrpSpPr>
          <p:cNvPr id="11" name="Группа 10"/>
          <p:cNvGrpSpPr/>
          <p:nvPr userDrawn="1"/>
        </p:nvGrpSpPr>
        <p:grpSpPr>
          <a:xfrm>
            <a:off x="8723399" y="6426969"/>
            <a:ext cx="502330" cy="3"/>
            <a:chOff x="658813" y="800103"/>
            <a:chExt cx="618252" cy="3"/>
          </a:xfrm>
        </p:grpSpPr>
        <p:cxnSp>
          <p:nvCxnSpPr>
            <p:cNvPr id="12" name="Прямая соединительная линия 11"/>
            <p:cNvCxnSpPr/>
            <p:nvPr/>
          </p:nvCxnSpPr>
          <p:spPr>
            <a:xfrm flipV="1">
              <a:off x="658814" y="800105"/>
              <a:ext cx="618251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Прямая соединительная линия 12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Группа 13"/>
          <p:cNvGrpSpPr/>
          <p:nvPr userDrawn="1"/>
        </p:nvGrpSpPr>
        <p:grpSpPr>
          <a:xfrm>
            <a:off x="687128" y="6426965"/>
            <a:ext cx="677581" cy="4"/>
            <a:chOff x="658813" y="800103"/>
            <a:chExt cx="833946" cy="4"/>
          </a:xfrm>
        </p:grpSpPr>
        <p:cxnSp>
          <p:nvCxnSpPr>
            <p:cNvPr id="15" name="Прямая соединительная линия 14"/>
            <p:cNvCxnSpPr/>
            <p:nvPr/>
          </p:nvCxnSpPr>
          <p:spPr>
            <a:xfrm flipV="1">
              <a:off x="658814" y="800106"/>
              <a:ext cx="83394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Текст 17"/>
          <p:cNvSpPr>
            <a:spLocks noGrp="1"/>
          </p:cNvSpPr>
          <p:nvPr>
            <p:ph type="body" sz="quarter" idx="13" hasCustomPrompt="1"/>
          </p:nvPr>
        </p:nvSpPr>
        <p:spPr>
          <a:xfrm>
            <a:off x="577853" y="1192099"/>
            <a:ext cx="4789309" cy="437244"/>
          </a:xfrm>
          <a:solidFill>
            <a:srgbClr val="ED1C24"/>
          </a:solidFill>
        </p:spPr>
        <p:txBody>
          <a:bodyPr anchor="ctr">
            <a:noAutofit/>
          </a:bodyPr>
          <a:lstStyle>
            <a:lvl1pPr marL="3302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Подзаголовок слайда (опционально)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2619" y="234062"/>
            <a:ext cx="6756127" cy="662780"/>
          </a:xfrm>
        </p:spPr>
        <p:txBody>
          <a:bodyPr>
            <a:normAutofit/>
          </a:bodyPr>
          <a:lstStyle>
            <a:lvl1pPr>
              <a:defRPr sz="2600" cap="all" baseline="0">
                <a:solidFill>
                  <a:schemeClr val="tx1"/>
                </a:solidFill>
                <a:latin typeface="Calibri" panose="020F0502020204030204" charset="0"/>
                <a:ea typeface="Calibri" panose="020F0502020204030204" charset="0"/>
                <a:cs typeface="Calibri" panose="020F050202020403020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96397" y="1156156"/>
            <a:ext cx="8721437" cy="5041446"/>
          </a:xfrm>
        </p:spPr>
        <p:txBody>
          <a:bodyPr/>
          <a:lstStyle>
            <a:lvl1pPr marL="330835" indent="-330835">
              <a:lnSpc>
                <a:spcPct val="100000"/>
              </a:lnSpc>
              <a:spcBef>
                <a:spcPts val="0"/>
              </a:spcBef>
              <a:spcAft>
                <a:spcPts val="1110"/>
              </a:spcAft>
              <a:buFont typeface="Arial" panose="020B0604020202020204" pitchFamily="34" charset="0"/>
              <a:buChar char="•"/>
              <a:defRPr sz="1800" b="0" i="0">
                <a:latin typeface="+mj-lt"/>
                <a:ea typeface="Calibri" panose="020F0502020204030204" charset="0"/>
                <a:cs typeface="Calibri" panose="020F0502020204030204" charset="0"/>
              </a:defRPr>
            </a:lvl1pPr>
            <a:lvl2pPr marL="714375" indent="-274320">
              <a:lnSpc>
                <a:spcPct val="100000"/>
              </a:lnSpc>
              <a:spcBef>
                <a:spcPts val="0"/>
              </a:spcBef>
              <a:spcAft>
                <a:spcPts val="925"/>
              </a:spcAft>
              <a:buFont typeface="Calibri Light" panose="020F0302020204030204" pitchFamily="34" charset="0"/>
              <a:buChar char="-"/>
              <a:defRPr sz="1700" b="0" i="0">
                <a:latin typeface="+mj-lt"/>
                <a:ea typeface="Calibri" panose="020F0502020204030204" charset="0"/>
                <a:cs typeface="Calibri" panose="020F0502020204030204" charset="0"/>
              </a:defRPr>
            </a:lvl2pPr>
            <a:lvl3pPr marL="1101090" indent="-221615">
              <a:spcBef>
                <a:spcPts val="0"/>
              </a:spcBef>
              <a:spcAft>
                <a:spcPts val="830"/>
              </a:spcAft>
              <a:buSzPct val="85000"/>
              <a:buFont typeface="Wingdings" panose="05000000000000000000" pitchFamily="2" charset="2"/>
              <a:buChar char="§"/>
              <a:defRPr sz="1500" b="0" i="0">
                <a:latin typeface="+mj-lt"/>
                <a:ea typeface="Calibri" panose="020F0502020204030204" charset="0"/>
                <a:cs typeface="Calibri" panose="020F0502020204030204" charset="0"/>
              </a:defRPr>
            </a:lvl3pPr>
            <a:lvl4pPr marL="1469390" indent="-210185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  <a:defRPr sz="1300" b="0" i="0" baseline="0">
                <a:latin typeface="+mj-lt"/>
                <a:ea typeface="Calibri" panose="020F0502020204030204" charset="0"/>
                <a:cs typeface="Calibri" panose="020F0502020204030204" charset="0"/>
              </a:defRPr>
            </a:lvl4pPr>
            <a:lvl5pPr marL="1889760" indent="-210185">
              <a:buFont typeface="Arial" panose="020B0604020202020204" pitchFamily="34" charset="0"/>
              <a:buChar char="•"/>
              <a:defRPr sz="1300" b="0" i="0">
                <a:latin typeface="+mj-lt"/>
                <a:ea typeface="Calibri" panose="020F0502020204030204" charset="0"/>
                <a:cs typeface="Calibri" panose="020F050202020403020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11254" y="6412485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9F9FE868-178E-0F4D-8A9A-79941EADC299}" type="datetime1">
              <a:rPr lang="ru-RU" smtClean="0">
                <a:solidFill>
                  <a:srgbClr val="0C0C0C">
                    <a:tint val="75000"/>
                  </a:srgbClr>
                </a:solidFill>
              </a:rPr>
              <a:t>09.11.2023</a:t>
            </a:fld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281365" y="6412485"/>
            <a:ext cx="3343275" cy="365125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ru-RU" dirty="0" smtClean="0">
                <a:solidFill>
                  <a:srgbClr val="0C0C0C">
                    <a:tint val="75000"/>
                  </a:srgbClr>
                </a:solidFill>
              </a:rPr>
              <a:t>Национальная технологическая инициатива</a:t>
            </a:r>
            <a:endParaRPr lang="ru-RU" dirty="0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091220" y="6412485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3EF660E9-E116-4F2D-91B7-27BAC0D3A970}" type="slidenum">
              <a:rPr lang="ru-RU" smtClean="0">
                <a:solidFill>
                  <a:srgbClr val="0C0C0C">
                    <a:tint val="75000"/>
                  </a:srgbClr>
                </a:solidFill>
              </a:rPr>
              <a:t>‹#›</a:t>
            </a:fld>
            <a:endParaRPr lang="ru-RU" dirty="0">
              <a:solidFill>
                <a:srgbClr val="0C0C0C">
                  <a:tint val="75000"/>
                </a:srgbClr>
              </a:solidFill>
            </a:endParaRPr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681038" y="846046"/>
            <a:ext cx="8540566" cy="1"/>
            <a:chOff x="658813" y="800103"/>
            <a:chExt cx="10511466" cy="1"/>
          </a:xfrm>
        </p:grpSpPr>
        <p:cxnSp>
          <p:nvCxnSpPr>
            <p:cNvPr id="8" name="Прямая соединительная линия 7"/>
            <p:cNvCxnSpPr/>
            <p:nvPr/>
          </p:nvCxnSpPr>
          <p:spPr>
            <a:xfrm flipV="1">
              <a:off x="658814" y="800103"/>
              <a:ext cx="1051146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Прямая соединительная линия 8"/>
            <p:cNvCxnSpPr/>
            <p:nvPr/>
          </p:nvCxnSpPr>
          <p:spPr>
            <a:xfrm rot="16200000">
              <a:off x="1357457" y="101459"/>
              <a:ext cx="0" cy="1397287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Группа 10"/>
          <p:cNvGrpSpPr/>
          <p:nvPr userDrawn="1"/>
        </p:nvGrpSpPr>
        <p:grpSpPr>
          <a:xfrm>
            <a:off x="8723399" y="6426969"/>
            <a:ext cx="502330" cy="3"/>
            <a:chOff x="658813" y="800103"/>
            <a:chExt cx="618252" cy="3"/>
          </a:xfrm>
        </p:grpSpPr>
        <p:cxnSp>
          <p:nvCxnSpPr>
            <p:cNvPr id="12" name="Прямая соединительная линия 11"/>
            <p:cNvCxnSpPr/>
            <p:nvPr/>
          </p:nvCxnSpPr>
          <p:spPr>
            <a:xfrm flipV="1">
              <a:off x="658814" y="800105"/>
              <a:ext cx="618251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Прямая соединительная линия 12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Группа 13"/>
          <p:cNvGrpSpPr/>
          <p:nvPr userDrawn="1"/>
        </p:nvGrpSpPr>
        <p:grpSpPr>
          <a:xfrm>
            <a:off x="687128" y="6426965"/>
            <a:ext cx="677581" cy="4"/>
            <a:chOff x="658813" y="800103"/>
            <a:chExt cx="833946" cy="4"/>
          </a:xfrm>
        </p:grpSpPr>
        <p:cxnSp>
          <p:nvCxnSpPr>
            <p:cNvPr id="15" name="Прямая соединительная линия 14"/>
            <p:cNvCxnSpPr/>
            <p:nvPr/>
          </p:nvCxnSpPr>
          <p:spPr>
            <a:xfrm flipV="1">
              <a:off x="658814" y="800106"/>
              <a:ext cx="83394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7" name="Изображение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975"/>
          <a:stretch>
            <a:fillRect/>
          </a:stretch>
        </p:blipFill>
        <p:spPr>
          <a:xfrm>
            <a:off x="7449373" y="422524"/>
            <a:ext cx="1777754" cy="32110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81690" y="2847059"/>
            <a:ext cx="8641984" cy="1456767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3700" b="0" i="0" cap="all" baseline="0">
                <a:solidFill>
                  <a:schemeClr val="tx1"/>
                </a:solidFill>
                <a:latin typeface="Calibri" panose="020F0502020204030204" charset="0"/>
                <a:ea typeface="Calibri" panose="020F0502020204030204" charset="0"/>
                <a:cs typeface="Calibri" panose="020F050202020403020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81690" y="4429134"/>
            <a:ext cx="8641984" cy="1314450"/>
          </a:xfrm>
        </p:spPr>
        <p:txBody>
          <a:bodyPr>
            <a:normAutofit/>
          </a:bodyPr>
          <a:lstStyle>
            <a:lvl1pPr marL="0" indent="0" algn="l">
              <a:buNone/>
              <a:defRPr sz="1700" b="0" i="0">
                <a:solidFill>
                  <a:schemeClr val="tx1"/>
                </a:solidFill>
                <a:latin typeface="+mj-lt"/>
                <a:ea typeface="Chevin Pro Thin" charset="0"/>
                <a:cs typeface="Chevin Pro Thin" charset="0"/>
              </a:defRPr>
            </a:lvl1pPr>
            <a:lvl2pPr marL="419735" indent="0" algn="ctr">
              <a:buNone/>
              <a:defRPr sz="1800"/>
            </a:lvl2pPr>
            <a:lvl3pPr marL="840105" indent="0" algn="ctr">
              <a:buNone/>
              <a:defRPr sz="1700"/>
            </a:lvl3pPr>
            <a:lvl4pPr marL="1259840" indent="0" algn="ctr">
              <a:buNone/>
              <a:defRPr sz="1500"/>
            </a:lvl4pPr>
            <a:lvl5pPr marL="1679575" indent="0" algn="ctr">
              <a:buNone/>
              <a:defRPr sz="1500"/>
            </a:lvl5pPr>
            <a:lvl6pPr marL="2099945" indent="0" algn="ctr">
              <a:buNone/>
              <a:defRPr sz="1500"/>
            </a:lvl6pPr>
            <a:lvl7pPr marL="2519680" indent="0" algn="ctr">
              <a:buNone/>
              <a:defRPr sz="1500"/>
            </a:lvl7pPr>
            <a:lvl8pPr marL="2939415" indent="0" algn="ctr">
              <a:buNone/>
              <a:defRPr sz="1500"/>
            </a:lvl8pPr>
            <a:lvl9pPr marL="3359785" indent="0" algn="ctr">
              <a:buNone/>
              <a:defRPr sz="15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 flipV="1">
            <a:off x="682331" y="4303841"/>
            <a:ext cx="2709080" cy="1"/>
          </a:xfrm>
          <a:prstGeom prst="line">
            <a:avLst/>
          </a:prstGeom>
          <a:ln>
            <a:solidFill>
              <a:schemeClr val="tx1">
                <a:alpha val="29804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682328" y="4303832"/>
            <a:ext cx="526666" cy="0"/>
          </a:xfrm>
          <a:prstGeom prst="line">
            <a:avLst/>
          </a:prstGeom>
          <a:ln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Изображение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2673"/>
          <a:stretch>
            <a:fillRect/>
          </a:stretch>
        </p:blipFill>
        <p:spPr>
          <a:xfrm>
            <a:off x="680631" y="852941"/>
            <a:ext cx="1852881" cy="346527"/>
          </a:xfrm>
          <a:prstGeom prst="rect">
            <a:avLst/>
          </a:prstGeom>
        </p:spPr>
      </p:pic>
      <p:grpSp>
        <p:nvGrpSpPr>
          <p:cNvPr id="12" name="Группа 11"/>
          <p:cNvGrpSpPr/>
          <p:nvPr userDrawn="1"/>
        </p:nvGrpSpPr>
        <p:grpSpPr>
          <a:xfrm>
            <a:off x="702967" y="709768"/>
            <a:ext cx="526666" cy="8"/>
            <a:chOff x="839788" y="214466"/>
            <a:chExt cx="648204" cy="8"/>
          </a:xfrm>
        </p:grpSpPr>
        <p:cxnSp>
          <p:nvCxnSpPr>
            <p:cNvPr id="16" name="Прямая соединительная линия 15"/>
            <p:cNvCxnSpPr/>
            <p:nvPr userDrawn="1"/>
          </p:nvCxnSpPr>
          <p:spPr>
            <a:xfrm>
              <a:off x="839789" y="214474"/>
              <a:ext cx="648203" cy="0"/>
            </a:xfrm>
            <a:prstGeom prst="line">
              <a:avLst/>
            </a:prstGeom>
            <a:ln>
              <a:solidFill>
                <a:schemeClr val="tx1">
                  <a:alpha val="29804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Прямая соединительная линия 19"/>
            <p:cNvCxnSpPr/>
            <p:nvPr userDrawn="1"/>
          </p:nvCxnSpPr>
          <p:spPr>
            <a:xfrm>
              <a:off x="839788" y="214466"/>
              <a:ext cx="265112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ацентный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2617" y="234062"/>
            <a:ext cx="6756127" cy="662780"/>
          </a:xfrm>
        </p:spPr>
        <p:txBody>
          <a:bodyPr>
            <a:normAutofit/>
          </a:bodyPr>
          <a:lstStyle>
            <a:lvl1pPr>
              <a:defRPr sz="2600" cap="all" baseline="0">
                <a:solidFill>
                  <a:schemeClr val="tx1"/>
                </a:solidFill>
                <a:latin typeface="Calibri" panose="020F0502020204030204" charset="0"/>
                <a:ea typeface="Calibri" panose="020F0502020204030204" charset="0"/>
                <a:cs typeface="Calibri" panose="020F050202020403020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96395" y="1736727"/>
            <a:ext cx="8721437" cy="4351338"/>
          </a:xfrm>
        </p:spPr>
        <p:txBody>
          <a:bodyPr/>
          <a:lstStyle>
            <a:lvl1pPr marL="330835" indent="-330835">
              <a:lnSpc>
                <a:spcPct val="100000"/>
              </a:lnSpc>
              <a:spcBef>
                <a:spcPts val="0"/>
              </a:spcBef>
              <a:spcAft>
                <a:spcPts val="1110"/>
              </a:spcAft>
              <a:buFont typeface="Arial" panose="020B0604020202020204" pitchFamily="34" charset="0"/>
              <a:buChar char="•"/>
              <a:defRPr sz="1800" b="0" i="0">
                <a:latin typeface="+mj-lt"/>
                <a:ea typeface="Calibri" panose="020F0502020204030204" charset="0"/>
                <a:cs typeface="Calibri" panose="020F0502020204030204" charset="0"/>
              </a:defRPr>
            </a:lvl1pPr>
            <a:lvl2pPr marL="714375" indent="-274320">
              <a:lnSpc>
                <a:spcPct val="100000"/>
              </a:lnSpc>
              <a:spcBef>
                <a:spcPts val="0"/>
              </a:spcBef>
              <a:spcAft>
                <a:spcPts val="925"/>
              </a:spcAft>
              <a:buSzPct val="100000"/>
              <a:buFont typeface="Calibri Light" panose="020F0302020204030204" pitchFamily="34" charset="0"/>
              <a:buChar char="-"/>
              <a:defRPr sz="1700" b="0" i="0">
                <a:latin typeface="+mj-lt"/>
                <a:ea typeface="Calibri" panose="020F0502020204030204" charset="0"/>
                <a:cs typeface="Calibri" panose="020F0502020204030204" charset="0"/>
              </a:defRPr>
            </a:lvl2pPr>
            <a:lvl3pPr marL="1101090" indent="-221615">
              <a:spcBef>
                <a:spcPts val="0"/>
              </a:spcBef>
              <a:spcAft>
                <a:spcPts val="830"/>
              </a:spcAft>
              <a:buSzPct val="85000"/>
              <a:buFont typeface="Wingdings" panose="05000000000000000000" pitchFamily="2" charset="2"/>
              <a:buChar char="§"/>
              <a:defRPr sz="1500" b="0" i="0">
                <a:latin typeface="+mj-lt"/>
                <a:ea typeface="Calibri" panose="020F0502020204030204" charset="0"/>
                <a:cs typeface="Calibri" panose="020F0502020204030204" charset="0"/>
              </a:defRPr>
            </a:lvl3pPr>
            <a:lvl4pPr marL="1470025" indent="-210185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  <a:defRPr sz="1300" b="0" i="0" baseline="0">
                <a:latin typeface="+mj-lt"/>
                <a:ea typeface="Calibri" panose="020F0502020204030204" charset="0"/>
                <a:cs typeface="Calibri" panose="020F0502020204030204" charset="0"/>
              </a:defRPr>
            </a:lvl4pPr>
            <a:lvl5pPr>
              <a:defRPr sz="1300" b="0" i="0">
                <a:latin typeface="+mj-lt"/>
                <a:ea typeface="Calibri" panose="020F0502020204030204" charset="0"/>
                <a:cs typeface="Calibri" panose="020F050202020403020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11254" y="6412485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9F9FE868-178E-0F4D-8A9A-79941EADC299}" type="datetime1">
              <a:rPr lang="ru-RU" smtClean="0">
                <a:solidFill>
                  <a:srgbClr val="0C0C0C">
                    <a:tint val="75000"/>
                  </a:srgbClr>
                </a:solidFill>
              </a:rPr>
              <a:t>09.11.2023</a:t>
            </a:fld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281363" y="6412485"/>
            <a:ext cx="3343275" cy="365125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ru-RU" dirty="0" smtClean="0">
                <a:solidFill>
                  <a:srgbClr val="0C0C0C">
                    <a:tint val="75000"/>
                  </a:srgbClr>
                </a:solidFill>
              </a:rPr>
              <a:t>Национальная технологическая инициатива</a:t>
            </a:r>
            <a:endParaRPr lang="ru-RU" dirty="0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091220" y="6412485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3EF660E9-E116-4F2D-91B7-27BAC0D3A970}" type="slidenum">
              <a:rPr lang="ru-RU" smtClean="0">
                <a:solidFill>
                  <a:srgbClr val="0C0C0C">
                    <a:tint val="75000"/>
                  </a:srgbClr>
                </a:solidFill>
              </a:rPr>
              <a:t>‹#›</a:t>
            </a:fld>
            <a:endParaRPr lang="ru-RU" dirty="0">
              <a:solidFill>
                <a:srgbClr val="0C0C0C">
                  <a:tint val="75000"/>
                </a:srgbClr>
              </a:solidFill>
            </a:endParaRPr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681038" y="846044"/>
            <a:ext cx="8540566" cy="1"/>
            <a:chOff x="658813" y="800103"/>
            <a:chExt cx="10511466" cy="1"/>
          </a:xfrm>
        </p:grpSpPr>
        <p:cxnSp>
          <p:nvCxnSpPr>
            <p:cNvPr id="8" name="Прямая соединительная линия 7"/>
            <p:cNvCxnSpPr/>
            <p:nvPr/>
          </p:nvCxnSpPr>
          <p:spPr>
            <a:xfrm flipV="1">
              <a:off x="658814" y="800103"/>
              <a:ext cx="1051146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Прямая соединительная линия 8"/>
            <p:cNvCxnSpPr/>
            <p:nvPr/>
          </p:nvCxnSpPr>
          <p:spPr>
            <a:xfrm rot="16200000">
              <a:off x="1357457" y="101459"/>
              <a:ext cx="0" cy="1397287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Изображение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975"/>
          <a:stretch>
            <a:fillRect/>
          </a:stretch>
        </p:blipFill>
        <p:spPr>
          <a:xfrm>
            <a:off x="7449373" y="422524"/>
            <a:ext cx="1777754" cy="321108"/>
          </a:xfrm>
          <a:prstGeom prst="rect">
            <a:avLst/>
          </a:prstGeom>
        </p:spPr>
      </p:pic>
      <p:grpSp>
        <p:nvGrpSpPr>
          <p:cNvPr id="11" name="Группа 10"/>
          <p:cNvGrpSpPr/>
          <p:nvPr userDrawn="1"/>
        </p:nvGrpSpPr>
        <p:grpSpPr>
          <a:xfrm>
            <a:off x="8723399" y="6426967"/>
            <a:ext cx="502330" cy="3"/>
            <a:chOff x="658813" y="800103"/>
            <a:chExt cx="618252" cy="3"/>
          </a:xfrm>
        </p:grpSpPr>
        <p:cxnSp>
          <p:nvCxnSpPr>
            <p:cNvPr id="12" name="Прямая соединительная линия 11"/>
            <p:cNvCxnSpPr/>
            <p:nvPr/>
          </p:nvCxnSpPr>
          <p:spPr>
            <a:xfrm flipV="1">
              <a:off x="658814" y="800105"/>
              <a:ext cx="618251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Прямая соединительная линия 12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Группа 13"/>
          <p:cNvGrpSpPr/>
          <p:nvPr userDrawn="1"/>
        </p:nvGrpSpPr>
        <p:grpSpPr>
          <a:xfrm>
            <a:off x="687128" y="6426965"/>
            <a:ext cx="677581" cy="4"/>
            <a:chOff x="658813" y="800103"/>
            <a:chExt cx="833946" cy="4"/>
          </a:xfrm>
        </p:grpSpPr>
        <p:cxnSp>
          <p:nvCxnSpPr>
            <p:cNvPr id="15" name="Прямая соединительная линия 14"/>
            <p:cNvCxnSpPr/>
            <p:nvPr/>
          </p:nvCxnSpPr>
          <p:spPr>
            <a:xfrm flipV="1">
              <a:off x="658814" y="800106"/>
              <a:ext cx="83394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Текст 17"/>
          <p:cNvSpPr>
            <a:spLocks noGrp="1"/>
          </p:cNvSpPr>
          <p:nvPr>
            <p:ph type="body" sz="quarter" idx="13" hasCustomPrompt="1"/>
          </p:nvPr>
        </p:nvSpPr>
        <p:spPr>
          <a:xfrm>
            <a:off x="577851" y="1192099"/>
            <a:ext cx="4789309" cy="437244"/>
          </a:xfrm>
          <a:solidFill>
            <a:srgbClr val="ED1C24"/>
          </a:solidFill>
        </p:spPr>
        <p:txBody>
          <a:bodyPr anchor="ctr">
            <a:noAutofit/>
          </a:bodyPr>
          <a:lstStyle>
            <a:lvl1pPr marL="3302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Подзаголовок слайда (опционально)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2617" y="234062"/>
            <a:ext cx="6756127" cy="662780"/>
          </a:xfrm>
        </p:spPr>
        <p:txBody>
          <a:bodyPr>
            <a:normAutofit/>
          </a:bodyPr>
          <a:lstStyle>
            <a:lvl1pPr>
              <a:defRPr sz="2600" cap="all" baseline="0">
                <a:solidFill>
                  <a:schemeClr val="tx1"/>
                </a:solidFill>
                <a:latin typeface="Calibri" panose="020F0502020204030204" charset="0"/>
                <a:ea typeface="Calibri" panose="020F0502020204030204" charset="0"/>
                <a:cs typeface="Calibri" panose="020F050202020403020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96395" y="1156156"/>
            <a:ext cx="8721437" cy="5041446"/>
          </a:xfrm>
        </p:spPr>
        <p:txBody>
          <a:bodyPr/>
          <a:lstStyle>
            <a:lvl1pPr marL="330835" indent="-330835">
              <a:lnSpc>
                <a:spcPct val="100000"/>
              </a:lnSpc>
              <a:spcBef>
                <a:spcPts val="0"/>
              </a:spcBef>
              <a:spcAft>
                <a:spcPts val="1110"/>
              </a:spcAft>
              <a:buFont typeface="Arial" panose="020B0604020202020204" pitchFamily="34" charset="0"/>
              <a:buChar char="•"/>
              <a:defRPr sz="1800" b="0" i="0">
                <a:latin typeface="+mj-lt"/>
                <a:ea typeface="Calibri" panose="020F0502020204030204" charset="0"/>
                <a:cs typeface="Calibri" panose="020F0502020204030204" charset="0"/>
              </a:defRPr>
            </a:lvl1pPr>
            <a:lvl2pPr marL="714375" indent="-274320">
              <a:lnSpc>
                <a:spcPct val="100000"/>
              </a:lnSpc>
              <a:spcBef>
                <a:spcPts val="0"/>
              </a:spcBef>
              <a:spcAft>
                <a:spcPts val="925"/>
              </a:spcAft>
              <a:buFont typeface="Calibri Light" panose="020F0302020204030204" pitchFamily="34" charset="0"/>
              <a:buChar char="-"/>
              <a:defRPr sz="1700" b="0" i="0">
                <a:latin typeface="+mj-lt"/>
                <a:ea typeface="Calibri" panose="020F0502020204030204" charset="0"/>
                <a:cs typeface="Calibri" panose="020F0502020204030204" charset="0"/>
              </a:defRPr>
            </a:lvl2pPr>
            <a:lvl3pPr marL="1101090" indent="-221615">
              <a:spcBef>
                <a:spcPts val="0"/>
              </a:spcBef>
              <a:spcAft>
                <a:spcPts val="830"/>
              </a:spcAft>
              <a:buSzPct val="85000"/>
              <a:buFont typeface="Wingdings" panose="05000000000000000000" pitchFamily="2" charset="2"/>
              <a:buChar char="§"/>
              <a:defRPr sz="1500" b="0" i="0">
                <a:latin typeface="+mj-lt"/>
                <a:ea typeface="Calibri" panose="020F0502020204030204" charset="0"/>
                <a:cs typeface="Calibri" panose="020F0502020204030204" charset="0"/>
              </a:defRPr>
            </a:lvl3pPr>
            <a:lvl4pPr marL="1470025" indent="-210185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  <a:defRPr sz="1300" b="0" i="0" baseline="0">
                <a:latin typeface="+mj-lt"/>
                <a:ea typeface="Calibri" panose="020F0502020204030204" charset="0"/>
                <a:cs typeface="Calibri" panose="020F0502020204030204" charset="0"/>
              </a:defRPr>
            </a:lvl4pPr>
            <a:lvl5pPr marL="1889760" indent="-210185">
              <a:buFont typeface="Arial" panose="020B0604020202020204" pitchFamily="34" charset="0"/>
              <a:buChar char="•"/>
              <a:defRPr sz="1300" b="0" i="0">
                <a:latin typeface="+mj-lt"/>
                <a:ea typeface="Calibri" panose="020F0502020204030204" charset="0"/>
                <a:cs typeface="Calibri" panose="020F050202020403020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11254" y="6412485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9F9FE868-178E-0F4D-8A9A-79941EADC299}" type="datetime1">
              <a:rPr lang="ru-RU" smtClean="0">
                <a:solidFill>
                  <a:srgbClr val="0C0C0C">
                    <a:tint val="75000"/>
                  </a:srgbClr>
                </a:solidFill>
              </a:rPr>
              <a:t>09.11.2023</a:t>
            </a:fld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281363" y="6412485"/>
            <a:ext cx="3343275" cy="365125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ru-RU" dirty="0" smtClean="0">
                <a:solidFill>
                  <a:srgbClr val="0C0C0C">
                    <a:tint val="75000"/>
                  </a:srgbClr>
                </a:solidFill>
              </a:rPr>
              <a:t>Национальная технологическая инициатива</a:t>
            </a:r>
            <a:endParaRPr lang="ru-RU" dirty="0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091220" y="6412485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3EF660E9-E116-4F2D-91B7-27BAC0D3A970}" type="slidenum">
              <a:rPr lang="ru-RU" smtClean="0">
                <a:solidFill>
                  <a:srgbClr val="0C0C0C">
                    <a:tint val="75000"/>
                  </a:srgbClr>
                </a:solidFill>
              </a:rPr>
              <a:t>‹#›</a:t>
            </a:fld>
            <a:endParaRPr lang="ru-RU" dirty="0">
              <a:solidFill>
                <a:srgbClr val="0C0C0C">
                  <a:tint val="75000"/>
                </a:srgbClr>
              </a:solidFill>
            </a:endParaRPr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681038" y="846044"/>
            <a:ext cx="8540566" cy="1"/>
            <a:chOff x="658813" y="800103"/>
            <a:chExt cx="10511466" cy="1"/>
          </a:xfrm>
        </p:grpSpPr>
        <p:cxnSp>
          <p:nvCxnSpPr>
            <p:cNvPr id="8" name="Прямая соединительная линия 7"/>
            <p:cNvCxnSpPr/>
            <p:nvPr/>
          </p:nvCxnSpPr>
          <p:spPr>
            <a:xfrm flipV="1">
              <a:off x="658814" y="800103"/>
              <a:ext cx="1051146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Прямая соединительная линия 8"/>
            <p:cNvCxnSpPr/>
            <p:nvPr/>
          </p:nvCxnSpPr>
          <p:spPr>
            <a:xfrm rot="16200000">
              <a:off x="1357457" y="101459"/>
              <a:ext cx="0" cy="1397287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Группа 10"/>
          <p:cNvGrpSpPr/>
          <p:nvPr userDrawn="1"/>
        </p:nvGrpSpPr>
        <p:grpSpPr>
          <a:xfrm>
            <a:off x="8723399" y="6426967"/>
            <a:ext cx="502330" cy="3"/>
            <a:chOff x="658813" y="800103"/>
            <a:chExt cx="618252" cy="3"/>
          </a:xfrm>
        </p:grpSpPr>
        <p:cxnSp>
          <p:nvCxnSpPr>
            <p:cNvPr id="12" name="Прямая соединительная линия 11"/>
            <p:cNvCxnSpPr/>
            <p:nvPr/>
          </p:nvCxnSpPr>
          <p:spPr>
            <a:xfrm flipV="1">
              <a:off x="658814" y="800105"/>
              <a:ext cx="618251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Прямая соединительная линия 12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Группа 13"/>
          <p:cNvGrpSpPr/>
          <p:nvPr userDrawn="1"/>
        </p:nvGrpSpPr>
        <p:grpSpPr>
          <a:xfrm>
            <a:off x="687128" y="6426965"/>
            <a:ext cx="677581" cy="4"/>
            <a:chOff x="658813" y="800103"/>
            <a:chExt cx="833946" cy="4"/>
          </a:xfrm>
        </p:grpSpPr>
        <p:cxnSp>
          <p:nvCxnSpPr>
            <p:cNvPr id="15" name="Прямая соединительная линия 14"/>
            <p:cNvCxnSpPr/>
            <p:nvPr/>
          </p:nvCxnSpPr>
          <p:spPr>
            <a:xfrm flipV="1">
              <a:off x="658814" y="800106"/>
              <a:ext cx="83394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7" name="Изображение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975"/>
          <a:stretch>
            <a:fillRect/>
          </a:stretch>
        </p:blipFill>
        <p:spPr>
          <a:xfrm>
            <a:off x="7449373" y="422524"/>
            <a:ext cx="1777754" cy="32110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1038" y="365128"/>
            <a:ext cx="8543925" cy="1325563"/>
          </a:xfrm>
          <a:prstGeom prst="rect">
            <a:avLst/>
          </a:prstGeom>
        </p:spPr>
        <p:txBody>
          <a:bodyPr vert="horz" lIns="83984" tIns="41992" rIns="83984" bIns="41992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1038" y="1825628"/>
            <a:ext cx="8543925" cy="4351338"/>
          </a:xfrm>
          <a:prstGeom prst="rect">
            <a:avLst/>
          </a:prstGeom>
        </p:spPr>
        <p:txBody>
          <a:bodyPr vert="horz" lIns="83984" tIns="41992" rIns="83984" bIns="41992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83984" tIns="41992" rIns="83984" bIns="41992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72E54A96-148C-F54C-A0C8-C109EC283038}" type="datetime1">
              <a:rPr lang="ru-RU" smtClean="0">
                <a:solidFill>
                  <a:srgbClr val="0C0C0C">
                    <a:tint val="75000"/>
                  </a:srgbClr>
                </a:solidFill>
              </a:rPr>
              <a:t>09.11.2023</a:t>
            </a:fld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281365" y="6356351"/>
            <a:ext cx="3343275" cy="365125"/>
          </a:xfrm>
          <a:prstGeom prst="rect">
            <a:avLst/>
          </a:prstGeom>
        </p:spPr>
        <p:txBody>
          <a:bodyPr vert="horz" lIns="83984" tIns="41992" rIns="83984" bIns="41992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r>
              <a:rPr lang="ru-RU" smtClean="0">
                <a:solidFill>
                  <a:srgbClr val="0C0C0C">
                    <a:tint val="75000"/>
                  </a:srgbClr>
                </a:solidFill>
              </a:rPr>
              <a:t>2016 © Национальная технологическая инициатива</a:t>
            </a:r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996112" y="6356351"/>
            <a:ext cx="2228850" cy="365125"/>
          </a:xfrm>
          <a:prstGeom prst="rect">
            <a:avLst/>
          </a:prstGeom>
        </p:spPr>
        <p:txBody>
          <a:bodyPr vert="horz" lIns="83984" tIns="41992" rIns="83984" bIns="41992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3EF660E9-E116-4F2D-91B7-27BAC0D3A970}" type="slidenum">
              <a:rPr lang="ru-RU" smtClean="0">
                <a:solidFill>
                  <a:srgbClr val="0C0C0C">
                    <a:tint val="75000"/>
                  </a:srgbClr>
                </a:solidFill>
              </a:rPr>
              <a:t>‹#›</a:t>
            </a:fld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840105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0185" indent="-210185" algn="l" defTabSz="840105" rtl="0" eaLnBrk="1" latinLnBrk="0" hangingPunct="1">
        <a:lnSpc>
          <a:spcPct val="90000"/>
        </a:lnSpc>
        <a:spcBef>
          <a:spcPts val="920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9920" indent="-210185" algn="l" defTabSz="840105" rtl="0" eaLnBrk="1" latinLnBrk="0" hangingPunct="1">
        <a:lnSpc>
          <a:spcPct val="90000"/>
        </a:lnSpc>
        <a:spcBef>
          <a:spcPts val="46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55" indent="-210185" algn="l" defTabSz="840105" rtl="0" eaLnBrk="1" latinLnBrk="0" hangingPunct="1">
        <a:lnSpc>
          <a:spcPct val="90000"/>
        </a:lnSpc>
        <a:spcBef>
          <a:spcPts val="46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390" indent="-210185" algn="l" defTabSz="840105" rtl="0" eaLnBrk="1" latinLnBrk="0" hangingPunct="1">
        <a:lnSpc>
          <a:spcPct val="90000"/>
        </a:lnSpc>
        <a:spcBef>
          <a:spcPts val="46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760" indent="-210185" algn="l" defTabSz="840105" rtl="0" eaLnBrk="1" latinLnBrk="0" hangingPunct="1">
        <a:lnSpc>
          <a:spcPct val="90000"/>
        </a:lnSpc>
        <a:spcBef>
          <a:spcPts val="46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495" indent="-210185" algn="l" defTabSz="840105" rtl="0" eaLnBrk="1" latinLnBrk="0" hangingPunct="1">
        <a:lnSpc>
          <a:spcPct val="90000"/>
        </a:lnSpc>
        <a:spcBef>
          <a:spcPts val="46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230" indent="-210185" algn="l" defTabSz="840105" rtl="0" eaLnBrk="1" latinLnBrk="0" hangingPunct="1">
        <a:lnSpc>
          <a:spcPct val="90000"/>
        </a:lnSpc>
        <a:spcBef>
          <a:spcPts val="46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149600" indent="-210185" algn="l" defTabSz="840105" rtl="0" eaLnBrk="1" latinLnBrk="0" hangingPunct="1">
        <a:lnSpc>
          <a:spcPct val="90000"/>
        </a:lnSpc>
        <a:spcBef>
          <a:spcPts val="46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569335" indent="-210185" algn="l" defTabSz="840105" rtl="0" eaLnBrk="1" latinLnBrk="0" hangingPunct="1">
        <a:lnSpc>
          <a:spcPct val="90000"/>
        </a:lnSpc>
        <a:spcBef>
          <a:spcPts val="46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4010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735" algn="l" defTabSz="84010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40105" algn="l" defTabSz="84010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840" algn="l" defTabSz="84010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575" algn="l" defTabSz="84010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310" algn="l" defTabSz="84010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680" algn="l" defTabSz="84010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9415" algn="l" defTabSz="84010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9150" algn="l" defTabSz="84010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1325563"/>
          </a:xfrm>
          <a:prstGeom prst="rect">
            <a:avLst/>
          </a:prstGeom>
        </p:spPr>
        <p:txBody>
          <a:bodyPr vert="horz" lIns="83988" tIns="41994" rIns="83988" bIns="41994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1038" y="1825626"/>
            <a:ext cx="8543925" cy="4351338"/>
          </a:xfrm>
          <a:prstGeom prst="rect">
            <a:avLst/>
          </a:prstGeom>
        </p:spPr>
        <p:txBody>
          <a:bodyPr vert="horz" lIns="83988" tIns="41994" rIns="83988" bIns="41994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83988" tIns="41994" rIns="83988" bIns="41994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72E54A96-148C-F54C-A0C8-C109EC283038}" type="datetime1">
              <a:rPr lang="ru-RU" smtClean="0">
                <a:solidFill>
                  <a:srgbClr val="0C0C0C">
                    <a:tint val="75000"/>
                  </a:srgbClr>
                </a:solidFill>
              </a:rPr>
              <a:t>09.11.2023</a:t>
            </a:fld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 vert="horz" lIns="83988" tIns="41994" rIns="83988" bIns="41994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r>
              <a:rPr lang="ru-RU" smtClean="0">
                <a:solidFill>
                  <a:srgbClr val="0C0C0C">
                    <a:tint val="75000"/>
                  </a:srgbClr>
                </a:solidFill>
              </a:rPr>
              <a:t>2016 © Национальная технологическая инициатива</a:t>
            </a:r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996112" y="6356351"/>
            <a:ext cx="2228850" cy="365125"/>
          </a:xfrm>
          <a:prstGeom prst="rect">
            <a:avLst/>
          </a:prstGeom>
        </p:spPr>
        <p:txBody>
          <a:bodyPr vert="horz" lIns="83988" tIns="41994" rIns="83988" bIns="41994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3EF660E9-E116-4F2D-91B7-27BAC0D3A970}" type="slidenum">
              <a:rPr lang="ru-RU" smtClean="0">
                <a:solidFill>
                  <a:srgbClr val="0C0C0C">
                    <a:tint val="75000"/>
                  </a:srgbClr>
                </a:solidFill>
              </a:rPr>
              <a:t>‹#›</a:t>
            </a:fld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5" r:id="rId3"/>
    <p:sldLayoutId id="2147483656" r:id="rId4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840105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0185" indent="-210185" algn="l" defTabSz="840105" rtl="0" eaLnBrk="1" latinLnBrk="0" hangingPunct="1">
        <a:lnSpc>
          <a:spcPct val="90000"/>
        </a:lnSpc>
        <a:spcBef>
          <a:spcPts val="920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9920" indent="-210185" algn="l" defTabSz="840105" rtl="0" eaLnBrk="1" latinLnBrk="0" hangingPunct="1">
        <a:lnSpc>
          <a:spcPct val="90000"/>
        </a:lnSpc>
        <a:spcBef>
          <a:spcPts val="46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55" indent="-210185" algn="l" defTabSz="840105" rtl="0" eaLnBrk="1" latinLnBrk="0" hangingPunct="1">
        <a:lnSpc>
          <a:spcPct val="90000"/>
        </a:lnSpc>
        <a:spcBef>
          <a:spcPts val="46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70025" indent="-210185" algn="l" defTabSz="840105" rtl="0" eaLnBrk="1" latinLnBrk="0" hangingPunct="1">
        <a:lnSpc>
          <a:spcPct val="90000"/>
        </a:lnSpc>
        <a:spcBef>
          <a:spcPts val="46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760" indent="-210185" algn="l" defTabSz="840105" rtl="0" eaLnBrk="1" latinLnBrk="0" hangingPunct="1">
        <a:lnSpc>
          <a:spcPct val="90000"/>
        </a:lnSpc>
        <a:spcBef>
          <a:spcPts val="46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495" indent="-210185" algn="l" defTabSz="840105" rtl="0" eaLnBrk="1" latinLnBrk="0" hangingPunct="1">
        <a:lnSpc>
          <a:spcPct val="90000"/>
        </a:lnSpc>
        <a:spcBef>
          <a:spcPts val="46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865" indent="-210185" algn="l" defTabSz="840105" rtl="0" eaLnBrk="1" latinLnBrk="0" hangingPunct="1">
        <a:lnSpc>
          <a:spcPct val="90000"/>
        </a:lnSpc>
        <a:spcBef>
          <a:spcPts val="46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149600" indent="-210185" algn="l" defTabSz="840105" rtl="0" eaLnBrk="1" latinLnBrk="0" hangingPunct="1">
        <a:lnSpc>
          <a:spcPct val="90000"/>
        </a:lnSpc>
        <a:spcBef>
          <a:spcPts val="46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569335" indent="-210185" algn="l" defTabSz="840105" rtl="0" eaLnBrk="1" latinLnBrk="0" hangingPunct="1">
        <a:lnSpc>
          <a:spcPct val="90000"/>
        </a:lnSpc>
        <a:spcBef>
          <a:spcPts val="46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4010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735" algn="l" defTabSz="84010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40105" algn="l" defTabSz="84010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840" algn="l" defTabSz="84010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575" algn="l" defTabSz="84010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945" algn="l" defTabSz="84010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680" algn="l" defTabSz="84010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9415" algn="l" defTabSz="84010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9785" algn="l" defTabSz="84010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8.png"/><Relationship Id="rId18" Type="http://schemas.openxmlformats.org/officeDocument/2006/relationships/image" Target="../media/image23.png"/><Relationship Id="rId26" Type="http://schemas.openxmlformats.org/officeDocument/2006/relationships/image" Target="../media/image31.png"/><Relationship Id="rId39" Type="http://schemas.openxmlformats.org/officeDocument/2006/relationships/image" Target="../media/image43.png"/><Relationship Id="rId21" Type="http://schemas.openxmlformats.org/officeDocument/2006/relationships/image" Target="../media/image26.png"/><Relationship Id="rId34" Type="http://schemas.openxmlformats.org/officeDocument/2006/relationships/image" Target="../media/image39.png"/><Relationship Id="rId42" Type="http://schemas.openxmlformats.org/officeDocument/2006/relationships/image" Target="../media/image46.png"/><Relationship Id="rId47" Type="http://schemas.openxmlformats.org/officeDocument/2006/relationships/image" Target="../media/image51.png"/><Relationship Id="rId50" Type="http://schemas.openxmlformats.org/officeDocument/2006/relationships/image" Target="../media/image54.png"/><Relationship Id="rId55" Type="http://schemas.openxmlformats.org/officeDocument/2006/relationships/image" Target="../media/image59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21.png"/><Relationship Id="rId20" Type="http://schemas.openxmlformats.org/officeDocument/2006/relationships/image" Target="../media/image25.png"/><Relationship Id="rId29" Type="http://schemas.openxmlformats.org/officeDocument/2006/relationships/image" Target="../media/image34.png"/><Relationship Id="rId41" Type="http://schemas.openxmlformats.org/officeDocument/2006/relationships/image" Target="../media/image45.png"/><Relationship Id="rId54" Type="http://schemas.openxmlformats.org/officeDocument/2006/relationships/image" Target="../media/image58.png"/><Relationship Id="rId62" Type="http://schemas.openxmlformats.org/officeDocument/2006/relationships/image" Target="../media/image66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2.png"/><Relationship Id="rId11" Type="http://schemas.openxmlformats.org/officeDocument/2006/relationships/image" Target="../media/image16.png"/><Relationship Id="rId24" Type="http://schemas.openxmlformats.org/officeDocument/2006/relationships/image" Target="../media/image29.png"/><Relationship Id="rId32" Type="http://schemas.openxmlformats.org/officeDocument/2006/relationships/image" Target="../media/image37.png"/><Relationship Id="rId37" Type="http://schemas.openxmlformats.org/officeDocument/2006/relationships/image" Target="../media/image41.png"/><Relationship Id="rId40" Type="http://schemas.openxmlformats.org/officeDocument/2006/relationships/image" Target="../media/image44.png"/><Relationship Id="rId45" Type="http://schemas.openxmlformats.org/officeDocument/2006/relationships/image" Target="../media/image49.png"/><Relationship Id="rId53" Type="http://schemas.openxmlformats.org/officeDocument/2006/relationships/image" Target="../media/image57.png"/><Relationship Id="rId58" Type="http://schemas.openxmlformats.org/officeDocument/2006/relationships/image" Target="../media/image62.png"/><Relationship Id="rId5" Type="http://schemas.openxmlformats.org/officeDocument/2006/relationships/image" Target="../media/image11.png"/><Relationship Id="rId15" Type="http://schemas.openxmlformats.org/officeDocument/2006/relationships/image" Target="../media/image20.png"/><Relationship Id="rId23" Type="http://schemas.openxmlformats.org/officeDocument/2006/relationships/image" Target="../media/image28.png"/><Relationship Id="rId28" Type="http://schemas.openxmlformats.org/officeDocument/2006/relationships/image" Target="../media/image33.png"/><Relationship Id="rId36" Type="http://schemas.openxmlformats.org/officeDocument/2006/relationships/image" Target="../media/image40.png"/><Relationship Id="rId49" Type="http://schemas.openxmlformats.org/officeDocument/2006/relationships/image" Target="../media/image53.png"/><Relationship Id="rId57" Type="http://schemas.openxmlformats.org/officeDocument/2006/relationships/image" Target="../media/image61.png"/><Relationship Id="rId61" Type="http://schemas.openxmlformats.org/officeDocument/2006/relationships/image" Target="../media/image65.png"/><Relationship Id="rId10" Type="http://schemas.openxmlformats.org/officeDocument/2006/relationships/image" Target="../media/image15.png"/><Relationship Id="rId19" Type="http://schemas.openxmlformats.org/officeDocument/2006/relationships/image" Target="../media/image24.png"/><Relationship Id="rId31" Type="http://schemas.openxmlformats.org/officeDocument/2006/relationships/image" Target="../media/image36.png"/><Relationship Id="rId44" Type="http://schemas.openxmlformats.org/officeDocument/2006/relationships/image" Target="../media/image48.png"/><Relationship Id="rId52" Type="http://schemas.openxmlformats.org/officeDocument/2006/relationships/image" Target="../media/image56.png"/><Relationship Id="rId60" Type="http://schemas.openxmlformats.org/officeDocument/2006/relationships/image" Target="../media/image64.png"/><Relationship Id="rId4" Type="http://schemas.openxmlformats.org/officeDocument/2006/relationships/image" Target="../media/image10.png"/><Relationship Id="rId9" Type="http://schemas.openxmlformats.org/officeDocument/2006/relationships/image" Target="../media/image5.png"/><Relationship Id="rId14" Type="http://schemas.openxmlformats.org/officeDocument/2006/relationships/image" Target="../media/image19.png"/><Relationship Id="rId22" Type="http://schemas.openxmlformats.org/officeDocument/2006/relationships/image" Target="../media/image27.png"/><Relationship Id="rId27" Type="http://schemas.openxmlformats.org/officeDocument/2006/relationships/image" Target="../media/image32.png"/><Relationship Id="rId30" Type="http://schemas.openxmlformats.org/officeDocument/2006/relationships/image" Target="../media/image35.png"/><Relationship Id="rId35" Type="http://schemas.openxmlformats.org/officeDocument/2006/relationships/image" Target="../media/image7.png"/><Relationship Id="rId43" Type="http://schemas.openxmlformats.org/officeDocument/2006/relationships/image" Target="../media/image47.png"/><Relationship Id="rId48" Type="http://schemas.openxmlformats.org/officeDocument/2006/relationships/image" Target="../media/image52.png"/><Relationship Id="rId56" Type="http://schemas.openxmlformats.org/officeDocument/2006/relationships/image" Target="../media/image60.png"/><Relationship Id="rId8" Type="http://schemas.openxmlformats.org/officeDocument/2006/relationships/image" Target="../media/image14.png"/><Relationship Id="rId51" Type="http://schemas.openxmlformats.org/officeDocument/2006/relationships/image" Target="../media/image55.png"/><Relationship Id="rId3" Type="http://schemas.openxmlformats.org/officeDocument/2006/relationships/image" Target="../media/image9.png"/><Relationship Id="rId12" Type="http://schemas.openxmlformats.org/officeDocument/2006/relationships/image" Target="../media/image17.png"/><Relationship Id="rId17" Type="http://schemas.openxmlformats.org/officeDocument/2006/relationships/image" Target="../media/image22.png"/><Relationship Id="rId25" Type="http://schemas.openxmlformats.org/officeDocument/2006/relationships/image" Target="../media/image30.png"/><Relationship Id="rId33" Type="http://schemas.openxmlformats.org/officeDocument/2006/relationships/image" Target="../media/image38.png"/><Relationship Id="rId38" Type="http://schemas.openxmlformats.org/officeDocument/2006/relationships/image" Target="../media/image42.png"/><Relationship Id="rId46" Type="http://schemas.openxmlformats.org/officeDocument/2006/relationships/image" Target="../media/image50.png"/><Relationship Id="rId59" Type="http://schemas.openxmlformats.org/officeDocument/2006/relationships/image" Target="../media/image63.png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6.png"/><Relationship Id="rId18" Type="http://schemas.openxmlformats.org/officeDocument/2006/relationships/image" Target="../media/image81.png"/><Relationship Id="rId26" Type="http://schemas.openxmlformats.org/officeDocument/2006/relationships/image" Target="../media/image89.png"/><Relationship Id="rId39" Type="http://schemas.openxmlformats.org/officeDocument/2006/relationships/image" Target="../media/image102.png"/><Relationship Id="rId21" Type="http://schemas.openxmlformats.org/officeDocument/2006/relationships/image" Target="../media/image84.png"/><Relationship Id="rId34" Type="http://schemas.openxmlformats.org/officeDocument/2006/relationships/image" Target="../media/image97.png"/><Relationship Id="rId42" Type="http://schemas.openxmlformats.org/officeDocument/2006/relationships/image" Target="../media/image105.png"/><Relationship Id="rId47" Type="http://schemas.openxmlformats.org/officeDocument/2006/relationships/image" Target="../media/image110.png"/><Relationship Id="rId50" Type="http://schemas.openxmlformats.org/officeDocument/2006/relationships/image" Target="../media/image113.png"/><Relationship Id="rId55" Type="http://schemas.openxmlformats.org/officeDocument/2006/relationships/image" Target="../media/image118.png"/><Relationship Id="rId7" Type="http://schemas.openxmlformats.org/officeDocument/2006/relationships/image" Target="../media/image71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79.png"/><Relationship Id="rId20" Type="http://schemas.openxmlformats.org/officeDocument/2006/relationships/image" Target="../media/image83.png"/><Relationship Id="rId29" Type="http://schemas.openxmlformats.org/officeDocument/2006/relationships/image" Target="../media/image92.png"/><Relationship Id="rId41" Type="http://schemas.openxmlformats.org/officeDocument/2006/relationships/image" Target="../media/image104.png"/><Relationship Id="rId54" Type="http://schemas.openxmlformats.org/officeDocument/2006/relationships/image" Target="../media/image117.png"/><Relationship Id="rId62" Type="http://schemas.openxmlformats.org/officeDocument/2006/relationships/image" Target="../media/image125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0.png"/><Relationship Id="rId11" Type="http://schemas.openxmlformats.org/officeDocument/2006/relationships/image" Target="../media/image75.png"/><Relationship Id="rId24" Type="http://schemas.openxmlformats.org/officeDocument/2006/relationships/image" Target="../media/image87.png"/><Relationship Id="rId32" Type="http://schemas.openxmlformats.org/officeDocument/2006/relationships/image" Target="../media/image95.png"/><Relationship Id="rId37" Type="http://schemas.openxmlformats.org/officeDocument/2006/relationships/image" Target="../media/image100.png"/><Relationship Id="rId40" Type="http://schemas.openxmlformats.org/officeDocument/2006/relationships/image" Target="../media/image103.png"/><Relationship Id="rId45" Type="http://schemas.openxmlformats.org/officeDocument/2006/relationships/image" Target="../media/image108.png"/><Relationship Id="rId53" Type="http://schemas.openxmlformats.org/officeDocument/2006/relationships/image" Target="../media/image116.png"/><Relationship Id="rId58" Type="http://schemas.openxmlformats.org/officeDocument/2006/relationships/image" Target="../media/image121.png"/><Relationship Id="rId5" Type="http://schemas.openxmlformats.org/officeDocument/2006/relationships/image" Target="../media/image69.png"/><Relationship Id="rId15" Type="http://schemas.openxmlformats.org/officeDocument/2006/relationships/image" Target="../media/image78.png"/><Relationship Id="rId23" Type="http://schemas.openxmlformats.org/officeDocument/2006/relationships/image" Target="../media/image86.png"/><Relationship Id="rId28" Type="http://schemas.openxmlformats.org/officeDocument/2006/relationships/image" Target="../media/image91.png"/><Relationship Id="rId36" Type="http://schemas.openxmlformats.org/officeDocument/2006/relationships/image" Target="../media/image99.png"/><Relationship Id="rId49" Type="http://schemas.openxmlformats.org/officeDocument/2006/relationships/image" Target="../media/image112.png"/><Relationship Id="rId57" Type="http://schemas.openxmlformats.org/officeDocument/2006/relationships/image" Target="../media/image120.png"/><Relationship Id="rId61" Type="http://schemas.openxmlformats.org/officeDocument/2006/relationships/image" Target="../media/image124.png"/><Relationship Id="rId10" Type="http://schemas.openxmlformats.org/officeDocument/2006/relationships/image" Target="../media/image74.png"/><Relationship Id="rId19" Type="http://schemas.openxmlformats.org/officeDocument/2006/relationships/image" Target="../media/image82.png"/><Relationship Id="rId31" Type="http://schemas.openxmlformats.org/officeDocument/2006/relationships/image" Target="../media/image94.png"/><Relationship Id="rId44" Type="http://schemas.openxmlformats.org/officeDocument/2006/relationships/image" Target="../media/image107.png"/><Relationship Id="rId52" Type="http://schemas.openxmlformats.org/officeDocument/2006/relationships/image" Target="../media/image115.png"/><Relationship Id="rId60" Type="http://schemas.openxmlformats.org/officeDocument/2006/relationships/image" Target="../media/image123.png"/><Relationship Id="rId4" Type="http://schemas.openxmlformats.org/officeDocument/2006/relationships/image" Target="../media/image68.png"/><Relationship Id="rId9" Type="http://schemas.openxmlformats.org/officeDocument/2006/relationships/image" Target="../media/image73.png"/><Relationship Id="rId14" Type="http://schemas.openxmlformats.org/officeDocument/2006/relationships/image" Target="../media/image77.png"/><Relationship Id="rId22" Type="http://schemas.openxmlformats.org/officeDocument/2006/relationships/image" Target="../media/image85.png"/><Relationship Id="rId27" Type="http://schemas.openxmlformats.org/officeDocument/2006/relationships/image" Target="../media/image90.png"/><Relationship Id="rId30" Type="http://schemas.openxmlformats.org/officeDocument/2006/relationships/image" Target="../media/image93.png"/><Relationship Id="rId35" Type="http://schemas.openxmlformats.org/officeDocument/2006/relationships/image" Target="../media/image98.png"/><Relationship Id="rId43" Type="http://schemas.openxmlformats.org/officeDocument/2006/relationships/image" Target="../media/image106.png"/><Relationship Id="rId48" Type="http://schemas.openxmlformats.org/officeDocument/2006/relationships/image" Target="../media/image111.png"/><Relationship Id="rId56" Type="http://schemas.openxmlformats.org/officeDocument/2006/relationships/image" Target="../media/image119.png"/><Relationship Id="rId8" Type="http://schemas.openxmlformats.org/officeDocument/2006/relationships/image" Target="../media/image72.png"/><Relationship Id="rId51" Type="http://schemas.openxmlformats.org/officeDocument/2006/relationships/image" Target="../media/image114.png"/><Relationship Id="rId3" Type="http://schemas.openxmlformats.org/officeDocument/2006/relationships/image" Target="../media/image67.png"/><Relationship Id="rId12" Type="http://schemas.openxmlformats.org/officeDocument/2006/relationships/image" Target="../media/image76.png"/><Relationship Id="rId17" Type="http://schemas.openxmlformats.org/officeDocument/2006/relationships/image" Target="../media/image80.png"/><Relationship Id="rId25" Type="http://schemas.openxmlformats.org/officeDocument/2006/relationships/image" Target="../media/image88.png"/><Relationship Id="rId33" Type="http://schemas.openxmlformats.org/officeDocument/2006/relationships/image" Target="../media/image96.png"/><Relationship Id="rId38" Type="http://schemas.openxmlformats.org/officeDocument/2006/relationships/image" Target="../media/image101.png"/><Relationship Id="rId46" Type="http://schemas.openxmlformats.org/officeDocument/2006/relationships/image" Target="../media/image109.png"/><Relationship Id="rId59" Type="http://schemas.openxmlformats.org/officeDocument/2006/relationships/image" Target="../media/image122.png"/></Relationships>
</file>

<file path=ppt/slides/_rels/slide1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36.png"/><Relationship Id="rId18" Type="http://schemas.openxmlformats.org/officeDocument/2006/relationships/image" Target="../media/image141.png"/><Relationship Id="rId26" Type="http://schemas.openxmlformats.org/officeDocument/2006/relationships/image" Target="../media/image149.png"/><Relationship Id="rId39" Type="http://schemas.openxmlformats.org/officeDocument/2006/relationships/image" Target="../media/image162.png"/><Relationship Id="rId21" Type="http://schemas.openxmlformats.org/officeDocument/2006/relationships/image" Target="../media/image144.png"/><Relationship Id="rId34" Type="http://schemas.openxmlformats.org/officeDocument/2006/relationships/image" Target="../media/image157.png"/><Relationship Id="rId42" Type="http://schemas.openxmlformats.org/officeDocument/2006/relationships/image" Target="../media/image165.png"/><Relationship Id="rId47" Type="http://schemas.openxmlformats.org/officeDocument/2006/relationships/image" Target="../media/image170.png"/><Relationship Id="rId50" Type="http://schemas.openxmlformats.org/officeDocument/2006/relationships/image" Target="../media/image173.png"/><Relationship Id="rId55" Type="http://schemas.openxmlformats.org/officeDocument/2006/relationships/image" Target="../media/image178.png"/><Relationship Id="rId7" Type="http://schemas.openxmlformats.org/officeDocument/2006/relationships/image" Target="../media/image130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139.png"/><Relationship Id="rId20" Type="http://schemas.openxmlformats.org/officeDocument/2006/relationships/image" Target="../media/image143.png"/><Relationship Id="rId29" Type="http://schemas.openxmlformats.org/officeDocument/2006/relationships/image" Target="../media/image152.png"/><Relationship Id="rId41" Type="http://schemas.openxmlformats.org/officeDocument/2006/relationships/image" Target="../media/image164.png"/><Relationship Id="rId54" Type="http://schemas.openxmlformats.org/officeDocument/2006/relationships/image" Target="../media/image177.png"/><Relationship Id="rId62" Type="http://schemas.openxmlformats.org/officeDocument/2006/relationships/image" Target="../media/image185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29.png"/><Relationship Id="rId11" Type="http://schemas.openxmlformats.org/officeDocument/2006/relationships/image" Target="../media/image134.png"/><Relationship Id="rId24" Type="http://schemas.openxmlformats.org/officeDocument/2006/relationships/image" Target="../media/image147.png"/><Relationship Id="rId32" Type="http://schemas.openxmlformats.org/officeDocument/2006/relationships/image" Target="../media/image155.png"/><Relationship Id="rId37" Type="http://schemas.openxmlformats.org/officeDocument/2006/relationships/image" Target="../media/image160.png"/><Relationship Id="rId40" Type="http://schemas.openxmlformats.org/officeDocument/2006/relationships/image" Target="../media/image163.png"/><Relationship Id="rId45" Type="http://schemas.openxmlformats.org/officeDocument/2006/relationships/image" Target="../media/image168.png"/><Relationship Id="rId53" Type="http://schemas.openxmlformats.org/officeDocument/2006/relationships/image" Target="../media/image176.png"/><Relationship Id="rId58" Type="http://schemas.openxmlformats.org/officeDocument/2006/relationships/image" Target="../media/image181.png"/><Relationship Id="rId5" Type="http://schemas.openxmlformats.org/officeDocument/2006/relationships/image" Target="../media/image128.png"/><Relationship Id="rId15" Type="http://schemas.openxmlformats.org/officeDocument/2006/relationships/image" Target="../media/image138.png"/><Relationship Id="rId23" Type="http://schemas.openxmlformats.org/officeDocument/2006/relationships/image" Target="../media/image146.png"/><Relationship Id="rId28" Type="http://schemas.openxmlformats.org/officeDocument/2006/relationships/image" Target="../media/image151.png"/><Relationship Id="rId36" Type="http://schemas.openxmlformats.org/officeDocument/2006/relationships/image" Target="../media/image159.png"/><Relationship Id="rId49" Type="http://schemas.openxmlformats.org/officeDocument/2006/relationships/image" Target="../media/image172.png"/><Relationship Id="rId57" Type="http://schemas.openxmlformats.org/officeDocument/2006/relationships/image" Target="../media/image180.png"/><Relationship Id="rId61" Type="http://schemas.openxmlformats.org/officeDocument/2006/relationships/image" Target="../media/image184.png"/><Relationship Id="rId10" Type="http://schemas.openxmlformats.org/officeDocument/2006/relationships/image" Target="../media/image133.png"/><Relationship Id="rId19" Type="http://schemas.openxmlformats.org/officeDocument/2006/relationships/image" Target="../media/image142.png"/><Relationship Id="rId31" Type="http://schemas.openxmlformats.org/officeDocument/2006/relationships/image" Target="../media/image154.png"/><Relationship Id="rId44" Type="http://schemas.openxmlformats.org/officeDocument/2006/relationships/image" Target="../media/image167.png"/><Relationship Id="rId52" Type="http://schemas.openxmlformats.org/officeDocument/2006/relationships/image" Target="../media/image175.png"/><Relationship Id="rId60" Type="http://schemas.openxmlformats.org/officeDocument/2006/relationships/image" Target="../media/image183.png"/><Relationship Id="rId4" Type="http://schemas.openxmlformats.org/officeDocument/2006/relationships/image" Target="../media/image127.png"/><Relationship Id="rId9" Type="http://schemas.openxmlformats.org/officeDocument/2006/relationships/image" Target="../media/image132.png"/><Relationship Id="rId14" Type="http://schemas.openxmlformats.org/officeDocument/2006/relationships/image" Target="../media/image137.png"/><Relationship Id="rId22" Type="http://schemas.openxmlformats.org/officeDocument/2006/relationships/image" Target="../media/image145.png"/><Relationship Id="rId27" Type="http://schemas.openxmlformats.org/officeDocument/2006/relationships/image" Target="../media/image150.png"/><Relationship Id="rId30" Type="http://schemas.openxmlformats.org/officeDocument/2006/relationships/image" Target="../media/image153.png"/><Relationship Id="rId35" Type="http://schemas.openxmlformats.org/officeDocument/2006/relationships/image" Target="../media/image158.png"/><Relationship Id="rId43" Type="http://schemas.openxmlformats.org/officeDocument/2006/relationships/image" Target="../media/image166.png"/><Relationship Id="rId48" Type="http://schemas.openxmlformats.org/officeDocument/2006/relationships/image" Target="../media/image171.png"/><Relationship Id="rId56" Type="http://schemas.openxmlformats.org/officeDocument/2006/relationships/image" Target="../media/image179.png"/><Relationship Id="rId8" Type="http://schemas.openxmlformats.org/officeDocument/2006/relationships/image" Target="../media/image131.png"/><Relationship Id="rId51" Type="http://schemas.openxmlformats.org/officeDocument/2006/relationships/image" Target="../media/image174.png"/><Relationship Id="rId3" Type="http://schemas.openxmlformats.org/officeDocument/2006/relationships/image" Target="../media/image126.png"/><Relationship Id="rId12" Type="http://schemas.openxmlformats.org/officeDocument/2006/relationships/image" Target="../media/image135.png"/><Relationship Id="rId17" Type="http://schemas.openxmlformats.org/officeDocument/2006/relationships/image" Target="../media/image140.png"/><Relationship Id="rId25" Type="http://schemas.openxmlformats.org/officeDocument/2006/relationships/image" Target="../media/image148.png"/><Relationship Id="rId33" Type="http://schemas.openxmlformats.org/officeDocument/2006/relationships/image" Target="../media/image156.png"/><Relationship Id="rId38" Type="http://schemas.openxmlformats.org/officeDocument/2006/relationships/image" Target="../media/image161.png"/><Relationship Id="rId46" Type="http://schemas.openxmlformats.org/officeDocument/2006/relationships/image" Target="../media/image169.png"/><Relationship Id="rId59" Type="http://schemas.openxmlformats.org/officeDocument/2006/relationships/image" Target="../media/image182.png"/></Relationships>
</file>

<file path=ppt/slides/_rels/slide1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96.png"/><Relationship Id="rId18" Type="http://schemas.openxmlformats.org/officeDocument/2006/relationships/image" Target="../media/image201.png"/><Relationship Id="rId26" Type="http://schemas.openxmlformats.org/officeDocument/2006/relationships/image" Target="../media/image209.png"/><Relationship Id="rId39" Type="http://schemas.openxmlformats.org/officeDocument/2006/relationships/image" Target="../media/image222.png"/><Relationship Id="rId21" Type="http://schemas.openxmlformats.org/officeDocument/2006/relationships/image" Target="../media/image204.png"/><Relationship Id="rId34" Type="http://schemas.openxmlformats.org/officeDocument/2006/relationships/image" Target="../media/image217.png"/><Relationship Id="rId42" Type="http://schemas.openxmlformats.org/officeDocument/2006/relationships/image" Target="../media/image225.png"/><Relationship Id="rId47" Type="http://schemas.openxmlformats.org/officeDocument/2006/relationships/image" Target="../media/image230.png"/><Relationship Id="rId50" Type="http://schemas.openxmlformats.org/officeDocument/2006/relationships/image" Target="../media/image233.png"/><Relationship Id="rId55" Type="http://schemas.openxmlformats.org/officeDocument/2006/relationships/image" Target="../media/image238.png"/><Relationship Id="rId7" Type="http://schemas.openxmlformats.org/officeDocument/2006/relationships/image" Target="../media/image190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199.png"/><Relationship Id="rId20" Type="http://schemas.openxmlformats.org/officeDocument/2006/relationships/image" Target="../media/image203.png"/><Relationship Id="rId29" Type="http://schemas.openxmlformats.org/officeDocument/2006/relationships/image" Target="../media/image212.png"/><Relationship Id="rId41" Type="http://schemas.openxmlformats.org/officeDocument/2006/relationships/image" Target="../media/image224.png"/><Relationship Id="rId54" Type="http://schemas.openxmlformats.org/officeDocument/2006/relationships/image" Target="../media/image237.png"/><Relationship Id="rId62" Type="http://schemas.openxmlformats.org/officeDocument/2006/relationships/image" Target="../media/image245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89.png"/><Relationship Id="rId11" Type="http://schemas.openxmlformats.org/officeDocument/2006/relationships/image" Target="../media/image194.png"/><Relationship Id="rId24" Type="http://schemas.openxmlformats.org/officeDocument/2006/relationships/image" Target="../media/image207.png"/><Relationship Id="rId32" Type="http://schemas.openxmlformats.org/officeDocument/2006/relationships/image" Target="../media/image215.png"/><Relationship Id="rId37" Type="http://schemas.openxmlformats.org/officeDocument/2006/relationships/image" Target="../media/image220.png"/><Relationship Id="rId40" Type="http://schemas.openxmlformats.org/officeDocument/2006/relationships/image" Target="../media/image223.png"/><Relationship Id="rId45" Type="http://schemas.openxmlformats.org/officeDocument/2006/relationships/image" Target="../media/image228.png"/><Relationship Id="rId53" Type="http://schemas.openxmlformats.org/officeDocument/2006/relationships/image" Target="../media/image236.png"/><Relationship Id="rId58" Type="http://schemas.openxmlformats.org/officeDocument/2006/relationships/image" Target="../media/image241.png"/><Relationship Id="rId5" Type="http://schemas.openxmlformats.org/officeDocument/2006/relationships/image" Target="../media/image188.png"/><Relationship Id="rId15" Type="http://schemas.openxmlformats.org/officeDocument/2006/relationships/image" Target="../media/image198.png"/><Relationship Id="rId23" Type="http://schemas.openxmlformats.org/officeDocument/2006/relationships/image" Target="../media/image206.png"/><Relationship Id="rId28" Type="http://schemas.openxmlformats.org/officeDocument/2006/relationships/image" Target="../media/image211.png"/><Relationship Id="rId36" Type="http://schemas.openxmlformats.org/officeDocument/2006/relationships/image" Target="../media/image219.png"/><Relationship Id="rId49" Type="http://schemas.openxmlformats.org/officeDocument/2006/relationships/image" Target="../media/image232.png"/><Relationship Id="rId57" Type="http://schemas.openxmlformats.org/officeDocument/2006/relationships/image" Target="../media/image240.png"/><Relationship Id="rId61" Type="http://schemas.openxmlformats.org/officeDocument/2006/relationships/image" Target="../media/image244.png"/><Relationship Id="rId10" Type="http://schemas.openxmlformats.org/officeDocument/2006/relationships/image" Target="../media/image193.png"/><Relationship Id="rId19" Type="http://schemas.openxmlformats.org/officeDocument/2006/relationships/image" Target="../media/image202.png"/><Relationship Id="rId31" Type="http://schemas.openxmlformats.org/officeDocument/2006/relationships/image" Target="../media/image214.png"/><Relationship Id="rId44" Type="http://schemas.openxmlformats.org/officeDocument/2006/relationships/image" Target="../media/image227.png"/><Relationship Id="rId52" Type="http://schemas.openxmlformats.org/officeDocument/2006/relationships/image" Target="../media/image235.png"/><Relationship Id="rId60" Type="http://schemas.openxmlformats.org/officeDocument/2006/relationships/image" Target="../media/image243.png"/><Relationship Id="rId4" Type="http://schemas.openxmlformats.org/officeDocument/2006/relationships/image" Target="../media/image187.png"/><Relationship Id="rId9" Type="http://schemas.openxmlformats.org/officeDocument/2006/relationships/image" Target="../media/image192.png"/><Relationship Id="rId14" Type="http://schemas.openxmlformats.org/officeDocument/2006/relationships/image" Target="../media/image197.png"/><Relationship Id="rId22" Type="http://schemas.openxmlformats.org/officeDocument/2006/relationships/image" Target="../media/image205.png"/><Relationship Id="rId27" Type="http://schemas.openxmlformats.org/officeDocument/2006/relationships/image" Target="../media/image210.png"/><Relationship Id="rId30" Type="http://schemas.openxmlformats.org/officeDocument/2006/relationships/image" Target="../media/image213.png"/><Relationship Id="rId35" Type="http://schemas.openxmlformats.org/officeDocument/2006/relationships/image" Target="../media/image218.png"/><Relationship Id="rId43" Type="http://schemas.openxmlformats.org/officeDocument/2006/relationships/image" Target="../media/image226.png"/><Relationship Id="rId48" Type="http://schemas.openxmlformats.org/officeDocument/2006/relationships/image" Target="../media/image231.png"/><Relationship Id="rId56" Type="http://schemas.openxmlformats.org/officeDocument/2006/relationships/image" Target="../media/image239.png"/><Relationship Id="rId8" Type="http://schemas.openxmlformats.org/officeDocument/2006/relationships/image" Target="../media/image191.png"/><Relationship Id="rId51" Type="http://schemas.openxmlformats.org/officeDocument/2006/relationships/image" Target="../media/image234.png"/><Relationship Id="rId3" Type="http://schemas.openxmlformats.org/officeDocument/2006/relationships/image" Target="../media/image186.png"/><Relationship Id="rId12" Type="http://schemas.openxmlformats.org/officeDocument/2006/relationships/image" Target="../media/image195.png"/><Relationship Id="rId17" Type="http://schemas.openxmlformats.org/officeDocument/2006/relationships/image" Target="../media/image200.png"/><Relationship Id="rId25" Type="http://schemas.openxmlformats.org/officeDocument/2006/relationships/image" Target="../media/image208.png"/><Relationship Id="rId33" Type="http://schemas.openxmlformats.org/officeDocument/2006/relationships/image" Target="../media/image216.png"/><Relationship Id="rId38" Type="http://schemas.openxmlformats.org/officeDocument/2006/relationships/image" Target="../media/image221.png"/><Relationship Id="rId46" Type="http://schemas.openxmlformats.org/officeDocument/2006/relationships/image" Target="../media/image229.png"/><Relationship Id="rId59" Type="http://schemas.openxmlformats.org/officeDocument/2006/relationships/image" Target="../media/image242.png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56.png"/><Relationship Id="rId18" Type="http://schemas.openxmlformats.org/officeDocument/2006/relationships/image" Target="../media/image261.png"/><Relationship Id="rId26" Type="http://schemas.openxmlformats.org/officeDocument/2006/relationships/image" Target="../media/image269.png"/><Relationship Id="rId39" Type="http://schemas.openxmlformats.org/officeDocument/2006/relationships/image" Target="../media/image282.png"/><Relationship Id="rId21" Type="http://schemas.openxmlformats.org/officeDocument/2006/relationships/image" Target="../media/image264.png"/><Relationship Id="rId34" Type="http://schemas.openxmlformats.org/officeDocument/2006/relationships/image" Target="../media/image277.png"/><Relationship Id="rId42" Type="http://schemas.openxmlformats.org/officeDocument/2006/relationships/image" Target="../media/image285.png"/><Relationship Id="rId47" Type="http://schemas.openxmlformats.org/officeDocument/2006/relationships/image" Target="../media/image290.png"/><Relationship Id="rId50" Type="http://schemas.openxmlformats.org/officeDocument/2006/relationships/image" Target="../media/image293.png"/><Relationship Id="rId55" Type="http://schemas.openxmlformats.org/officeDocument/2006/relationships/image" Target="../media/image298.png"/><Relationship Id="rId7" Type="http://schemas.openxmlformats.org/officeDocument/2006/relationships/image" Target="../media/image250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259.png"/><Relationship Id="rId20" Type="http://schemas.openxmlformats.org/officeDocument/2006/relationships/image" Target="../media/image263.png"/><Relationship Id="rId29" Type="http://schemas.openxmlformats.org/officeDocument/2006/relationships/image" Target="../media/image272.png"/><Relationship Id="rId41" Type="http://schemas.openxmlformats.org/officeDocument/2006/relationships/image" Target="../media/image284.png"/><Relationship Id="rId54" Type="http://schemas.openxmlformats.org/officeDocument/2006/relationships/image" Target="../media/image297.png"/><Relationship Id="rId62" Type="http://schemas.openxmlformats.org/officeDocument/2006/relationships/image" Target="../media/image305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49.png"/><Relationship Id="rId11" Type="http://schemas.openxmlformats.org/officeDocument/2006/relationships/image" Target="../media/image254.png"/><Relationship Id="rId24" Type="http://schemas.openxmlformats.org/officeDocument/2006/relationships/image" Target="../media/image267.png"/><Relationship Id="rId32" Type="http://schemas.openxmlformats.org/officeDocument/2006/relationships/image" Target="../media/image275.png"/><Relationship Id="rId37" Type="http://schemas.openxmlformats.org/officeDocument/2006/relationships/image" Target="../media/image280.png"/><Relationship Id="rId40" Type="http://schemas.openxmlformats.org/officeDocument/2006/relationships/image" Target="../media/image283.png"/><Relationship Id="rId45" Type="http://schemas.openxmlformats.org/officeDocument/2006/relationships/image" Target="../media/image288.png"/><Relationship Id="rId53" Type="http://schemas.openxmlformats.org/officeDocument/2006/relationships/image" Target="../media/image296.png"/><Relationship Id="rId58" Type="http://schemas.openxmlformats.org/officeDocument/2006/relationships/image" Target="../media/image301.png"/><Relationship Id="rId5" Type="http://schemas.openxmlformats.org/officeDocument/2006/relationships/image" Target="../media/image248.png"/><Relationship Id="rId15" Type="http://schemas.openxmlformats.org/officeDocument/2006/relationships/image" Target="../media/image258.png"/><Relationship Id="rId23" Type="http://schemas.openxmlformats.org/officeDocument/2006/relationships/image" Target="../media/image266.png"/><Relationship Id="rId28" Type="http://schemas.openxmlformats.org/officeDocument/2006/relationships/image" Target="../media/image271.png"/><Relationship Id="rId36" Type="http://schemas.openxmlformats.org/officeDocument/2006/relationships/image" Target="../media/image279.png"/><Relationship Id="rId49" Type="http://schemas.openxmlformats.org/officeDocument/2006/relationships/image" Target="../media/image292.png"/><Relationship Id="rId57" Type="http://schemas.openxmlformats.org/officeDocument/2006/relationships/image" Target="../media/image300.png"/><Relationship Id="rId61" Type="http://schemas.openxmlformats.org/officeDocument/2006/relationships/image" Target="../media/image304.png"/><Relationship Id="rId10" Type="http://schemas.openxmlformats.org/officeDocument/2006/relationships/image" Target="../media/image253.png"/><Relationship Id="rId19" Type="http://schemas.openxmlformats.org/officeDocument/2006/relationships/image" Target="../media/image262.png"/><Relationship Id="rId31" Type="http://schemas.openxmlformats.org/officeDocument/2006/relationships/image" Target="../media/image274.png"/><Relationship Id="rId44" Type="http://schemas.openxmlformats.org/officeDocument/2006/relationships/image" Target="../media/image287.png"/><Relationship Id="rId52" Type="http://schemas.openxmlformats.org/officeDocument/2006/relationships/image" Target="../media/image295.png"/><Relationship Id="rId60" Type="http://schemas.openxmlformats.org/officeDocument/2006/relationships/image" Target="../media/image303.png"/><Relationship Id="rId4" Type="http://schemas.openxmlformats.org/officeDocument/2006/relationships/image" Target="../media/image247.png"/><Relationship Id="rId9" Type="http://schemas.openxmlformats.org/officeDocument/2006/relationships/image" Target="../media/image252.png"/><Relationship Id="rId14" Type="http://schemas.openxmlformats.org/officeDocument/2006/relationships/image" Target="../media/image257.png"/><Relationship Id="rId22" Type="http://schemas.openxmlformats.org/officeDocument/2006/relationships/image" Target="../media/image265.png"/><Relationship Id="rId27" Type="http://schemas.openxmlformats.org/officeDocument/2006/relationships/image" Target="../media/image270.png"/><Relationship Id="rId30" Type="http://schemas.openxmlformats.org/officeDocument/2006/relationships/image" Target="../media/image273.png"/><Relationship Id="rId35" Type="http://schemas.openxmlformats.org/officeDocument/2006/relationships/image" Target="../media/image278.png"/><Relationship Id="rId43" Type="http://schemas.openxmlformats.org/officeDocument/2006/relationships/image" Target="../media/image286.png"/><Relationship Id="rId48" Type="http://schemas.openxmlformats.org/officeDocument/2006/relationships/image" Target="../media/image291.png"/><Relationship Id="rId56" Type="http://schemas.openxmlformats.org/officeDocument/2006/relationships/image" Target="../media/image299.png"/><Relationship Id="rId8" Type="http://schemas.openxmlformats.org/officeDocument/2006/relationships/image" Target="../media/image251.png"/><Relationship Id="rId51" Type="http://schemas.openxmlformats.org/officeDocument/2006/relationships/image" Target="../media/image294.png"/><Relationship Id="rId3" Type="http://schemas.openxmlformats.org/officeDocument/2006/relationships/image" Target="../media/image246.png"/><Relationship Id="rId12" Type="http://schemas.openxmlformats.org/officeDocument/2006/relationships/image" Target="../media/image255.png"/><Relationship Id="rId17" Type="http://schemas.openxmlformats.org/officeDocument/2006/relationships/image" Target="../media/image260.png"/><Relationship Id="rId25" Type="http://schemas.openxmlformats.org/officeDocument/2006/relationships/image" Target="../media/image268.png"/><Relationship Id="rId33" Type="http://schemas.openxmlformats.org/officeDocument/2006/relationships/image" Target="../media/image276.png"/><Relationship Id="rId38" Type="http://schemas.openxmlformats.org/officeDocument/2006/relationships/image" Target="../media/image281.png"/><Relationship Id="rId46" Type="http://schemas.openxmlformats.org/officeDocument/2006/relationships/image" Target="../media/image289.png"/><Relationship Id="rId59" Type="http://schemas.openxmlformats.org/officeDocument/2006/relationships/image" Target="../media/image302.png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16.png"/><Relationship Id="rId18" Type="http://schemas.openxmlformats.org/officeDocument/2006/relationships/image" Target="../media/image321.png"/><Relationship Id="rId26" Type="http://schemas.openxmlformats.org/officeDocument/2006/relationships/image" Target="../media/image329.png"/><Relationship Id="rId39" Type="http://schemas.openxmlformats.org/officeDocument/2006/relationships/image" Target="../media/image342.png"/><Relationship Id="rId21" Type="http://schemas.openxmlformats.org/officeDocument/2006/relationships/image" Target="../media/image324.png"/><Relationship Id="rId34" Type="http://schemas.openxmlformats.org/officeDocument/2006/relationships/image" Target="../media/image337.png"/><Relationship Id="rId42" Type="http://schemas.openxmlformats.org/officeDocument/2006/relationships/image" Target="../media/image345.png"/><Relationship Id="rId47" Type="http://schemas.openxmlformats.org/officeDocument/2006/relationships/image" Target="../media/image350.png"/><Relationship Id="rId50" Type="http://schemas.openxmlformats.org/officeDocument/2006/relationships/image" Target="../media/image353.png"/><Relationship Id="rId55" Type="http://schemas.openxmlformats.org/officeDocument/2006/relationships/image" Target="../media/image358.png"/><Relationship Id="rId7" Type="http://schemas.openxmlformats.org/officeDocument/2006/relationships/image" Target="../media/image310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319.png"/><Relationship Id="rId20" Type="http://schemas.openxmlformats.org/officeDocument/2006/relationships/image" Target="../media/image323.png"/><Relationship Id="rId29" Type="http://schemas.openxmlformats.org/officeDocument/2006/relationships/image" Target="../media/image332.png"/><Relationship Id="rId41" Type="http://schemas.openxmlformats.org/officeDocument/2006/relationships/image" Target="../media/image344.png"/><Relationship Id="rId54" Type="http://schemas.openxmlformats.org/officeDocument/2006/relationships/image" Target="../media/image357.png"/><Relationship Id="rId62" Type="http://schemas.openxmlformats.org/officeDocument/2006/relationships/image" Target="../media/image365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09.png"/><Relationship Id="rId11" Type="http://schemas.openxmlformats.org/officeDocument/2006/relationships/image" Target="../media/image314.png"/><Relationship Id="rId24" Type="http://schemas.openxmlformats.org/officeDocument/2006/relationships/image" Target="../media/image327.png"/><Relationship Id="rId32" Type="http://schemas.openxmlformats.org/officeDocument/2006/relationships/image" Target="../media/image335.png"/><Relationship Id="rId37" Type="http://schemas.openxmlformats.org/officeDocument/2006/relationships/image" Target="../media/image340.png"/><Relationship Id="rId40" Type="http://schemas.openxmlformats.org/officeDocument/2006/relationships/image" Target="../media/image343.png"/><Relationship Id="rId45" Type="http://schemas.openxmlformats.org/officeDocument/2006/relationships/image" Target="../media/image348.png"/><Relationship Id="rId53" Type="http://schemas.openxmlformats.org/officeDocument/2006/relationships/image" Target="../media/image356.png"/><Relationship Id="rId58" Type="http://schemas.openxmlformats.org/officeDocument/2006/relationships/image" Target="../media/image361.png"/><Relationship Id="rId5" Type="http://schemas.openxmlformats.org/officeDocument/2006/relationships/image" Target="../media/image308.png"/><Relationship Id="rId15" Type="http://schemas.openxmlformats.org/officeDocument/2006/relationships/image" Target="../media/image318.png"/><Relationship Id="rId23" Type="http://schemas.openxmlformats.org/officeDocument/2006/relationships/image" Target="../media/image326.png"/><Relationship Id="rId28" Type="http://schemas.openxmlformats.org/officeDocument/2006/relationships/image" Target="../media/image331.png"/><Relationship Id="rId36" Type="http://schemas.openxmlformats.org/officeDocument/2006/relationships/image" Target="../media/image339.png"/><Relationship Id="rId49" Type="http://schemas.openxmlformats.org/officeDocument/2006/relationships/image" Target="../media/image352.png"/><Relationship Id="rId57" Type="http://schemas.openxmlformats.org/officeDocument/2006/relationships/image" Target="../media/image360.png"/><Relationship Id="rId61" Type="http://schemas.openxmlformats.org/officeDocument/2006/relationships/image" Target="../media/image364.png"/><Relationship Id="rId10" Type="http://schemas.openxmlformats.org/officeDocument/2006/relationships/image" Target="../media/image313.png"/><Relationship Id="rId19" Type="http://schemas.openxmlformats.org/officeDocument/2006/relationships/image" Target="../media/image322.png"/><Relationship Id="rId31" Type="http://schemas.openxmlformats.org/officeDocument/2006/relationships/image" Target="../media/image334.png"/><Relationship Id="rId44" Type="http://schemas.openxmlformats.org/officeDocument/2006/relationships/image" Target="../media/image347.png"/><Relationship Id="rId52" Type="http://schemas.openxmlformats.org/officeDocument/2006/relationships/image" Target="../media/image355.png"/><Relationship Id="rId60" Type="http://schemas.openxmlformats.org/officeDocument/2006/relationships/image" Target="../media/image363.png"/><Relationship Id="rId4" Type="http://schemas.openxmlformats.org/officeDocument/2006/relationships/image" Target="../media/image307.png"/><Relationship Id="rId9" Type="http://schemas.openxmlformats.org/officeDocument/2006/relationships/image" Target="../media/image312.png"/><Relationship Id="rId14" Type="http://schemas.openxmlformats.org/officeDocument/2006/relationships/image" Target="../media/image317.png"/><Relationship Id="rId22" Type="http://schemas.openxmlformats.org/officeDocument/2006/relationships/image" Target="../media/image325.png"/><Relationship Id="rId27" Type="http://schemas.openxmlformats.org/officeDocument/2006/relationships/image" Target="../media/image330.png"/><Relationship Id="rId30" Type="http://schemas.openxmlformats.org/officeDocument/2006/relationships/image" Target="../media/image333.png"/><Relationship Id="rId35" Type="http://schemas.openxmlformats.org/officeDocument/2006/relationships/image" Target="../media/image338.png"/><Relationship Id="rId43" Type="http://schemas.openxmlformats.org/officeDocument/2006/relationships/image" Target="../media/image346.png"/><Relationship Id="rId48" Type="http://schemas.openxmlformats.org/officeDocument/2006/relationships/image" Target="../media/image351.png"/><Relationship Id="rId56" Type="http://schemas.openxmlformats.org/officeDocument/2006/relationships/image" Target="../media/image359.png"/><Relationship Id="rId8" Type="http://schemas.openxmlformats.org/officeDocument/2006/relationships/image" Target="../media/image311.png"/><Relationship Id="rId51" Type="http://schemas.openxmlformats.org/officeDocument/2006/relationships/image" Target="../media/image354.png"/><Relationship Id="rId3" Type="http://schemas.openxmlformats.org/officeDocument/2006/relationships/image" Target="../media/image306.png"/><Relationship Id="rId12" Type="http://schemas.openxmlformats.org/officeDocument/2006/relationships/image" Target="../media/image315.png"/><Relationship Id="rId17" Type="http://schemas.openxmlformats.org/officeDocument/2006/relationships/image" Target="../media/image320.png"/><Relationship Id="rId25" Type="http://schemas.openxmlformats.org/officeDocument/2006/relationships/image" Target="../media/image328.png"/><Relationship Id="rId33" Type="http://schemas.openxmlformats.org/officeDocument/2006/relationships/image" Target="../media/image336.png"/><Relationship Id="rId38" Type="http://schemas.openxmlformats.org/officeDocument/2006/relationships/image" Target="../media/image341.png"/><Relationship Id="rId46" Type="http://schemas.openxmlformats.org/officeDocument/2006/relationships/image" Target="../media/image349.png"/><Relationship Id="rId59" Type="http://schemas.openxmlformats.org/officeDocument/2006/relationships/image" Target="../media/image362.png"/></Relationships>
</file>

<file path=ppt/slides/_rels/slide19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76.png"/><Relationship Id="rId18" Type="http://schemas.openxmlformats.org/officeDocument/2006/relationships/image" Target="../media/image381.png"/><Relationship Id="rId26" Type="http://schemas.openxmlformats.org/officeDocument/2006/relationships/image" Target="../media/image389.png"/><Relationship Id="rId39" Type="http://schemas.openxmlformats.org/officeDocument/2006/relationships/image" Target="../media/image402.png"/><Relationship Id="rId21" Type="http://schemas.openxmlformats.org/officeDocument/2006/relationships/image" Target="../media/image384.png"/><Relationship Id="rId34" Type="http://schemas.openxmlformats.org/officeDocument/2006/relationships/image" Target="../media/image397.png"/><Relationship Id="rId42" Type="http://schemas.openxmlformats.org/officeDocument/2006/relationships/image" Target="../media/image405.png"/><Relationship Id="rId47" Type="http://schemas.openxmlformats.org/officeDocument/2006/relationships/image" Target="../media/image410.png"/><Relationship Id="rId50" Type="http://schemas.openxmlformats.org/officeDocument/2006/relationships/image" Target="../media/image413.png"/><Relationship Id="rId55" Type="http://schemas.openxmlformats.org/officeDocument/2006/relationships/image" Target="../media/image418.png"/><Relationship Id="rId7" Type="http://schemas.openxmlformats.org/officeDocument/2006/relationships/image" Target="../media/image370.pn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379.png"/><Relationship Id="rId20" Type="http://schemas.openxmlformats.org/officeDocument/2006/relationships/image" Target="../media/image383.png"/><Relationship Id="rId29" Type="http://schemas.openxmlformats.org/officeDocument/2006/relationships/image" Target="../media/image392.png"/><Relationship Id="rId41" Type="http://schemas.openxmlformats.org/officeDocument/2006/relationships/image" Target="../media/image404.png"/><Relationship Id="rId54" Type="http://schemas.openxmlformats.org/officeDocument/2006/relationships/image" Target="../media/image417.png"/><Relationship Id="rId62" Type="http://schemas.openxmlformats.org/officeDocument/2006/relationships/image" Target="../media/image425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69.png"/><Relationship Id="rId11" Type="http://schemas.openxmlformats.org/officeDocument/2006/relationships/image" Target="../media/image374.png"/><Relationship Id="rId24" Type="http://schemas.openxmlformats.org/officeDocument/2006/relationships/image" Target="../media/image387.png"/><Relationship Id="rId32" Type="http://schemas.openxmlformats.org/officeDocument/2006/relationships/image" Target="../media/image395.png"/><Relationship Id="rId37" Type="http://schemas.openxmlformats.org/officeDocument/2006/relationships/image" Target="../media/image400.png"/><Relationship Id="rId40" Type="http://schemas.openxmlformats.org/officeDocument/2006/relationships/image" Target="../media/image403.png"/><Relationship Id="rId45" Type="http://schemas.openxmlformats.org/officeDocument/2006/relationships/image" Target="../media/image408.png"/><Relationship Id="rId53" Type="http://schemas.openxmlformats.org/officeDocument/2006/relationships/image" Target="../media/image416.png"/><Relationship Id="rId58" Type="http://schemas.openxmlformats.org/officeDocument/2006/relationships/image" Target="../media/image421.png"/><Relationship Id="rId5" Type="http://schemas.openxmlformats.org/officeDocument/2006/relationships/image" Target="../media/image368.png"/><Relationship Id="rId15" Type="http://schemas.openxmlformats.org/officeDocument/2006/relationships/image" Target="../media/image378.png"/><Relationship Id="rId23" Type="http://schemas.openxmlformats.org/officeDocument/2006/relationships/image" Target="../media/image386.png"/><Relationship Id="rId28" Type="http://schemas.openxmlformats.org/officeDocument/2006/relationships/image" Target="../media/image391.png"/><Relationship Id="rId36" Type="http://schemas.openxmlformats.org/officeDocument/2006/relationships/image" Target="../media/image399.png"/><Relationship Id="rId49" Type="http://schemas.openxmlformats.org/officeDocument/2006/relationships/image" Target="../media/image412.png"/><Relationship Id="rId57" Type="http://schemas.openxmlformats.org/officeDocument/2006/relationships/image" Target="../media/image420.png"/><Relationship Id="rId61" Type="http://schemas.openxmlformats.org/officeDocument/2006/relationships/image" Target="../media/image424.png"/><Relationship Id="rId10" Type="http://schemas.openxmlformats.org/officeDocument/2006/relationships/image" Target="../media/image373.png"/><Relationship Id="rId19" Type="http://schemas.openxmlformats.org/officeDocument/2006/relationships/image" Target="../media/image382.png"/><Relationship Id="rId31" Type="http://schemas.openxmlformats.org/officeDocument/2006/relationships/image" Target="../media/image394.png"/><Relationship Id="rId44" Type="http://schemas.openxmlformats.org/officeDocument/2006/relationships/image" Target="../media/image407.png"/><Relationship Id="rId52" Type="http://schemas.openxmlformats.org/officeDocument/2006/relationships/image" Target="../media/image415.png"/><Relationship Id="rId60" Type="http://schemas.openxmlformats.org/officeDocument/2006/relationships/image" Target="../media/image423.png"/><Relationship Id="rId4" Type="http://schemas.openxmlformats.org/officeDocument/2006/relationships/image" Target="../media/image367.png"/><Relationship Id="rId9" Type="http://schemas.openxmlformats.org/officeDocument/2006/relationships/image" Target="../media/image372.png"/><Relationship Id="rId14" Type="http://schemas.openxmlformats.org/officeDocument/2006/relationships/image" Target="../media/image377.png"/><Relationship Id="rId22" Type="http://schemas.openxmlformats.org/officeDocument/2006/relationships/image" Target="../media/image385.png"/><Relationship Id="rId27" Type="http://schemas.openxmlformats.org/officeDocument/2006/relationships/image" Target="../media/image390.png"/><Relationship Id="rId30" Type="http://schemas.openxmlformats.org/officeDocument/2006/relationships/image" Target="../media/image393.png"/><Relationship Id="rId35" Type="http://schemas.openxmlformats.org/officeDocument/2006/relationships/image" Target="../media/image398.png"/><Relationship Id="rId43" Type="http://schemas.openxmlformats.org/officeDocument/2006/relationships/image" Target="../media/image406.png"/><Relationship Id="rId48" Type="http://schemas.openxmlformats.org/officeDocument/2006/relationships/image" Target="../media/image411.png"/><Relationship Id="rId56" Type="http://schemas.openxmlformats.org/officeDocument/2006/relationships/image" Target="../media/image419.png"/><Relationship Id="rId8" Type="http://schemas.openxmlformats.org/officeDocument/2006/relationships/image" Target="../media/image371.png"/><Relationship Id="rId51" Type="http://schemas.openxmlformats.org/officeDocument/2006/relationships/image" Target="../media/image414.png"/><Relationship Id="rId3" Type="http://schemas.openxmlformats.org/officeDocument/2006/relationships/image" Target="../media/image366.png"/><Relationship Id="rId12" Type="http://schemas.openxmlformats.org/officeDocument/2006/relationships/image" Target="../media/image375.png"/><Relationship Id="rId17" Type="http://schemas.openxmlformats.org/officeDocument/2006/relationships/image" Target="../media/image380.png"/><Relationship Id="rId25" Type="http://schemas.openxmlformats.org/officeDocument/2006/relationships/image" Target="../media/image388.png"/><Relationship Id="rId33" Type="http://schemas.openxmlformats.org/officeDocument/2006/relationships/image" Target="../media/image396.png"/><Relationship Id="rId38" Type="http://schemas.openxmlformats.org/officeDocument/2006/relationships/image" Target="../media/image401.png"/><Relationship Id="rId46" Type="http://schemas.openxmlformats.org/officeDocument/2006/relationships/image" Target="../media/image409.png"/><Relationship Id="rId59" Type="http://schemas.openxmlformats.org/officeDocument/2006/relationships/image" Target="../media/image42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chart" Target="../charts/chart1.xml"/></Relationships>
</file>

<file path=ppt/slides/_rels/slide20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36.png"/><Relationship Id="rId18" Type="http://schemas.openxmlformats.org/officeDocument/2006/relationships/image" Target="../media/image441.png"/><Relationship Id="rId26" Type="http://schemas.openxmlformats.org/officeDocument/2006/relationships/image" Target="../media/image449.png"/><Relationship Id="rId39" Type="http://schemas.openxmlformats.org/officeDocument/2006/relationships/image" Target="../media/image462.png"/><Relationship Id="rId21" Type="http://schemas.openxmlformats.org/officeDocument/2006/relationships/image" Target="../media/image444.png"/><Relationship Id="rId34" Type="http://schemas.openxmlformats.org/officeDocument/2006/relationships/image" Target="../media/image457.png"/><Relationship Id="rId42" Type="http://schemas.openxmlformats.org/officeDocument/2006/relationships/image" Target="../media/image465.png"/><Relationship Id="rId47" Type="http://schemas.openxmlformats.org/officeDocument/2006/relationships/image" Target="../media/image470.png"/><Relationship Id="rId50" Type="http://schemas.openxmlformats.org/officeDocument/2006/relationships/image" Target="../media/image473.png"/><Relationship Id="rId55" Type="http://schemas.openxmlformats.org/officeDocument/2006/relationships/image" Target="../media/image478.png"/><Relationship Id="rId7" Type="http://schemas.openxmlformats.org/officeDocument/2006/relationships/image" Target="../media/image430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439.png"/><Relationship Id="rId20" Type="http://schemas.openxmlformats.org/officeDocument/2006/relationships/image" Target="../media/image443.png"/><Relationship Id="rId29" Type="http://schemas.openxmlformats.org/officeDocument/2006/relationships/image" Target="../media/image452.png"/><Relationship Id="rId41" Type="http://schemas.openxmlformats.org/officeDocument/2006/relationships/image" Target="../media/image464.png"/><Relationship Id="rId54" Type="http://schemas.openxmlformats.org/officeDocument/2006/relationships/image" Target="../media/image477.png"/><Relationship Id="rId62" Type="http://schemas.openxmlformats.org/officeDocument/2006/relationships/image" Target="../media/image485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29.png"/><Relationship Id="rId11" Type="http://schemas.openxmlformats.org/officeDocument/2006/relationships/image" Target="../media/image434.png"/><Relationship Id="rId24" Type="http://schemas.openxmlformats.org/officeDocument/2006/relationships/image" Target="../media/image447.png"/><Relationship Id="rId32" Type="http://schemas.openxmlformats.org/officeDocument/2006/relationships/image" Target="../media/image455.png"/><Relationship Id="rId37" Type="http://schemas.openxmlformats.org/officeDocument/2006/relationships/image" Target="../media/image460.png"/><Relationship Id="rId40" Type="http://schemas.openxmlformats.org/officeDocument/2006/relationships/image" Target="../media/image463.png"/><Relationship Id="rId45" Type="http://schemas.openxmlformats.org/officeDocument/2006/relationships/image" Target="../media/image468.png"/><Relationship Id="rId53" Type="http://schemas.openxmlformats.org/officeDocument/2006/relationships/image" Target="../media/image476.png"/><Relationship Id="rId58" Type="http://schemas.openxmlformats.org/officeDocument/2006/relationships/image" Target="../media/image481.png"/><Relationship Id="rId5" Type="http://schemas.openxmlformats.org/officeDocument/2006/relationships/image" Target="../media/image428.png"/><Relationship Id="rId15" Type="http://schemas.openxmlformats.org/officeDocument/2006/relationships/image" Target="../media/image438.png"/><Relationship Id="rId23" Type="http://schemas.openxmlformats.org/officeDocument/2006/relationships/image" Target="../media/image446.png"/><Relationship Id="rId28" Type="http://schemas.openxmlformats.org/officeDocument/2006/relationships/image" Target="../media/image451.png"/><Relationship Id="rId36" Type="http://schemas.openxmlformats.org/officeDocument/2006/relationships/image" Target="../media/image459.png"/><Relationship Id="rId49" Type="http://schemas.openxmlformats.org/officeDocument/2006/relationships/image" Target="../media/image472.png"/><Relationship Id="rId57" Type="http://schemas.openxmlformats.org/officeDocument/2006/relationships/image" Target="../media/image480.png"/><Relationship Id="rId61" Type="http://schemas.openxmlformats.org/officeDocument/2006/relationships/image" Target="../media/image484.png"/><Relationship Id="rId10" Type="http://schemas.openxmlformats.org/officeDocument/2006/relationships/image" Target="../media/image433.png"/><Relationship Id="rId19" Type="http://schemas.openxmlformats.org/officeDocument/2006/relationships/image" Target="../media/image442.png"/><Relationship Id="rId31" Type="http://schemas.openxmlformats.org/officeDocument/2006/relationships/image" Target="../media/image454.png"/><Relationship Id="rId44" Type="http://schemas.openxmlformats.org/officeDocument/2006/relationships/image" Target="../media/image467.png"/><Relationship Id="rId52" Type="http://schemas.openxmlformats.org/officeDocument/2006/relationships/image" Target="../media/image475.png"/><Relationship Id="rId60" Type="http://schemas.openxmlformats.org/officeDocument/2006/relationships/image" Target="../media/image483.png"/><Relationship Id="rId4" Type="http://schemas.openxmlformats.org/officeDocument/2006/relationships/image" Target="../media/image427.png"/><Relationship Id="rId9" Type="http://schemas.openxmlformats.org/officeDocument/2006/relationships/image" Target="../media/image432.png"/><Relationship Id="rId14" Type="http://schemas.openxmlformats.org/officeDocument/2006/relationships/image" Target="../media/image437.png"/><Relationship Id="rId22" Type="http://schemas.openxmlformats.org/officeDocument/2006/relationships/image" Target="../media/image445.png"/><Relationship Id="rId27" Type="http://schemas.openxmlformats.org/officeDocument/2006/relationships/image" Target="../media/image450.png"/><Relationship Id="rId30" Type="http://schemas.openxmlformats.org/officeDocument/2006/relationships/image" Target="../media/image453.png"/><Relationship Id="rId35" Type="http://schemas.openxmlformats.org/officeDocument/2006/relationships/image" Target="../media/image458.png"/><Relationship Id="rId43" Type="http://schemas.openxmlformats.org/officeDocument/2006/relationships/image" Target="../media/image466.png"/><Relationship Id="rId48" Type="http://schemas.openxmlformats.org/officeDocument/2006/relationships/image" Target="../media/image471.png"/><Relationship Id="rId56" Type="http://schemas.openxmlformats.org/officeDocument/2006/relationships/image" Target="../media/image479.png"/><Relationship Id="rId8" Type="http://schemas.openxmlformats.org/officeDocument/2006/relationships/image" Target="../media/image431.png"/><Relationship Id="rId51" Type="http://schemas.openxmlformats.org/officeDocument/2006/relationships/image" Target="../media/image474.png"/><Relationship Id="rId3" Type="http://schemas.openxmlformats.org/officeDocument/2006/relationships/image" Target="../media/image426.png"/><Relationship Id="rId12" Type="http://schemas.openxmlformats.org/officeDocument/2006/relationships/image" Target="../media/image435.png"/><Relationship Id="rId17" Type="http://schemas.openxmlformats.org/officeDocument/2006/relationships/image" Target="../media/image440.png"/><Relationship Id="rId25" Type="http://schemas.openxmlformats.org/officeDocument/2006/relationships/image" Target="../media/image448.png"/><Relationship Id="rId33" Type="http://schemas.openxmlformats.org/officeDocument/2006/relationships/image" Target="../media/image456.png"/><Relationship Id="rId38" Type="http://schemas.openxmlformats.org/officeDocument/2006/relationships/image" Target="../media/image461.png"/><Relationship Id="rId46" Type="http://schemas.openxmlformats.org/officeDocument/2006/relationships/image" Target="../media/image469.png"/><Relationship Id="rId59" Type="http://schemas.openxmlformats.org/officeDocument/2006/relationships/image" Target="../media/image482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1.png"/><Relationship Id="rId13" Type="http://schemas.openxmlformats.org/officeDocument/2006/relationships/image" Target="../media/image496.png"/><Relationship Id="rId18" Type="http://schemas.openxmlformats.org/officeDocument/2006/relationships/image" Target="../media/image501.png"/><Relationship Id="rId26" Type="http://schemas.openxmlformats.org/officeDocument/2006/relationships/image" Target="../media/image509.png"/><Relationship Id="rId39" Type="http://schemas.openxmlformats.org/officeDocument/2006/relationships/image" Target="../media/image522.png"/><Relationship Id="rId3" Type="http://schemas.openxmlformats.org/officeDocument/2006/relationships/image" Target="../media/image486.png"/><Relationship Id="rId21" Type="http://schemas.openxmlformats.org/officeDocument/2006/relationships/image" Target="../media/image504.png"/><Relationship Id="rId34" Type="http://schemas.openxmlformats.org/officeDocument/2006/relationships/image" Target="../media/image517.png"/><Relationship Id="rId42" Type="http://schemas.openxmlformats.org/officeDocument/2006/relationships/image" Target="../media/image525.png"/><Relationship Id="rId47" Type="http://schemas.openxmlformats.org/officeDocument/2006/relationships/image" Target="../media/image530.png"/><Relationship Id="rId7" Type="http://schemas.openxmlformats.org/officeDocument/2006/relationships/image" Target="../media/image490.png"/><Relationship Id="rId12" Type="http://schemas.openxmlformats.org/officeDocument/2006/relationships/image" Target="../media/image495.png"/><Relationship Id="rId17" Type="http://schemas.openxmlformats.org/officeDocument/2006/relationships/image" Target="../media/image500.png"/><Relationship Id="rId25" Type="http://schemas.openxmlformats.org/officeDocument/2006/relationships/image" Target="../media/image508.png"/><Relationship Id="rId33" Type="http://schemas.openxmlformats.org/officeDocument/2006/relationships/image" Target="../media/image516.png"/><Relationship Id="rId38" Type="http://schemas.openxmlformats.org/officeDocument/2006/relationships/image" Target="../media/image521.png"/><Relationship Id="rId46" Type="http://schemas.openxmlformats.org/officeDocument/2006/relationships/image" Target="../media/image529.pn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499.png"/><Relationship Id="rId20" Type="http://schemas.openxmlformats.org/officeDocument/2006/relationships/image" Target="../media/image503.png"/><Relationship Id="rId29" Type="http://schemas.openxmlformats.org/officeDocument/2006/relationships/image" Target="../media/image512.png"/><Relationship Id="rId41" Type="http://schemas.openxmlformats.org/officeDocument/2006/relationships/image" Target="../media/image524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89.png"/><Relationship Id="rId11" Type="http://schemas.openxmlformats.org/officeDocument/2006/relationships/image" Target="../media/image494.png"/><Relationship Id="rId24" Type="http://schemas.openxmlformats.org/officeDocument/2006/relationships/image" Target="../media/image507.png"/><Relationship Id="rId32" Type="http://schemas.openxmlformats.org/officeDocument/2006/relationships/image" Target="../media/image515.png"/><Relationship Id="rId37" Type="http://schemas.openxmlformats.org/officeDocument/2006/relationships/image" Target="../media/image520.png"/><Relationship Id="rId40" Type="http://schemas.openxmlformats.org/officeDocument/2006/relationships/image" Target="../media/image523.png"/><Relationship Id="rId45" Type="http://schemas.openxmlformats.org/officeDocument/2006/relationships/image" Target="../media/image528.png"/><Relationship Id="rId5" Type="http://schemas.openxmlformats.org/officeDocument/2006/relationships/image" Target="../media/image488.png"/><Relationship Id="rId15" Type="http://schemas.openxmlformats.org/officeDocument/2006/relationships/image" Target="../media/image498.png"/><Relationship Id="rId23" Type="http://schemas.openxmlformats.org/officeDocument/2006/relationships/image" Target="../media/image506.png"/><Relationship Id="rId28" Type="http://schemas.openxmlformats.org/officeDocument/2006/relationships/image" Target="../media/image511.png"/><Relationship Id="rId36" Type="http://schemas.openxmlformats.org/officeDocument/2006/relationships/image" Target="../media/image519.png"/><Relationship Id="rId10" Type="http://schemas.openxmlformats.org/officeDocument/2006/relationships/image" Target="../media/image493.png"/><Relationship Id="rId19" Type="http://schemas.openxmlformats.org/officeDocument/2006/relationships/image" Target="../media/image502.png"/><Relationship Id="rId31" Type="http://schemas.openxmlformats.org/officeDocument/2006/relationships/image" Target="../media/image514.png"/><Relationship Id="rId44" Type="http://schemas.openxmlformats.org/officeDocument/2006/relationships/image" Target="../media/image527.png"/><Relationship Id="rId4" Type="http://schemas.openxmlformats.org/officeDocument/2006/relationships/image" Target="../media/image487.png"/><Relationship Id="rId9" Type="http://schemas.openxmlformats.org/officeDocument/2006/relationships/image" Target="../media/image492.png"/><Relationship Id="rId14" Type="http://schemas.openxmlformats.org/officeDocument/2006/relationships/image" Target="../media/image497.png"/><Relationship Id="rId22" Type="http://schemas.openxmlformats.org/officeDocument/2006/relationships/image" Target="../media/image505.png"/><Relationship Id="rId27" Type="http://schemas.openxmlformats.org/officeDocument/2006/relationships/image" Target="../media/image510.png"/><Relationship Id="rId30" Type="http://schemas.openxmlformats.org/officeDocument/2006/relationships/image" Target="../media/image513.png"/><Relationship Id="rId35" Type="http://schemas.openxmlformats.org/officeDocument/2006/relationships/image" Target="../media/image518.png"/><Relationship Id="rId43" Type="http://schemas.openxmlformats.org/officeDocument/2006/relationships/image" Target="../media/image526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 txBox="1"/>
          <p:nvPr/>
        </p:nvSpPr>
        <p:spPr>
          <a:xfrm>
            <a:off x="179295" y="1789421"/>
            <a:ext cx="9072282" cy="2093957"/>
          </a:xfrm>
          <a:prstGeom prst="rect">
            <a:avLst/>
          </a:prstGeom>
        </p:spPr>
        <p:txBody>
          <a:bodyPr>
            <a:noAutofit/>
          </a:bodyPr>
          <a:lstStyle>
            <a:lvl1pPr algn="l" defTabSz="84010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9370" marR="18415">
              <a:lnSpc>
                <a:spcPct val="112000"/>
              </a:lnSpc>
              <a:spcBef>
                <a:spcPts val="630"/>
              </a:spcBef>
            </a:pPr>
            <a:r>
              <a:rPr lang="ru-RU" b="1" cap="all" dirty="0"/>
              <a:t>ОРГАНИЗАЦИЯ СИСТЕМЫ КОГНИТИВНОГО РАДИО НА ПЛАТФОРМЕ ИМЕЮЩИХСЯ ТЕХНОЛОГИЙ В РФ</a:t>
            </a:r>
          </a:p>
          <a:p>
            <a:pPr marL="39370" marR="18415">
              <a:lnSpc>
                <a:spcPct val="112000"/>
              </a:lnSpc>
              <a:spcBef>
                <a:spcPts val="630"/>
              </a:spcBef>
            </a:pPr>
            <a:r>
              <a:rPr lang="ru-RU" sz="3200" b="1" dirty="0" smtClean="0">
                <a:solidFill>
                  <a:schemeClr val="accent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/>
            </a:r>
            <a:br>
              <a:rPr lang="ru-RU" sz="3200" b="1" dirty="0" smtClean="0">
                <a:solidFill>
                  <a:schemeClr val="accent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endParaRPr lang="ru-RU" sz="1800" spc="-2" dirty="0">
              <a:solidFill>
                <a:schemeClr val="accent2">
                  <a:lumMod val="50000"/>
                </a:schemeClr>
              </a:solidFill>
              <a:latin typeface="Lato"/>
              <a:cs typeface="Lato"/>
            </a:endParaRPr>
          </a:p>
        </p:txBody>
      </p:sp>
      <p:sp>
        <p:nvSpPr>
          <p:cNvPr id="3" name="Нижний колонтитул 3"/>
          <p:cNvSpPr txBox="1"/>
          <p:nvPr/>
        </p:nvSpPr>
        <p:spPr>
          <a:xfrm>
            <a:off x="636487" y="6137714"/>
            <a:ext cx="2788025" cy="365125"/>
          </a:xfrm>
          <a:prstGeom prst="rect">
            <a:avLst/>
          </a:prstGeom>
        </p:spPr>
        <p:txBody>
          <a:bodyPr vert="horz" lIns="83988" tIns="41994" rIns="83988" bIns="41994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65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1600" dirty="0" smtClean="0">
                <a:solidFill>
                  <a:schemeClr val="accent4">
                    <a:lumMod val="50000"/>
                  </a:schemeClr>
                </a:solidFill>
              </a:rPr>
              <a:t>2023, РГРТУ</a:t>
            </a:r>
            <a:endParaRPr lang="ru-RU" sz="1600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18565" y="5271808"/>
            <a:ext cx="928743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350" marR="2540" defTabSz="840105"/>
            <a:r>
              <a:rPr lang="ru-RU" sz="1600" b="1" spc="-5" dirty="0">
                <a:solidFill>
                  <a:schemeClr val="accent2">
                    <a:lumMod val="50000"/>
                  </a:schemeClr>
                </a:solidFill>
                <a:latin typeface="Lato Black"/>
                <a:ea typeface="+mj-ea"/>
                <a:cs typeface="Lato Black"/>
              </a:rPr>
              <a:t>Акселерационная программа: </a:t>
            </a:r>
          </a:p>
          <a:p>
            <a:pPr marL="6350" marR="2540" defTabSz="840105"/>
            <a:r>
              <a:rPr lang="ru-RU" sz="1600" b="1" spc="-5" dirty="0">
                <a:solidFill>
                  <a:schemeClr val="accent2">
                    <a:lumMod val="50000"/>
                  </a:schemeClr>
                </a:solidFill>
                <a:latin typeface="Lato Black"/>
                <a:ea typeface="+mj-ea"/>
                <a:cs typeface="Lato Black"/>
              </a:rPr>
              <a:t>Школа студенческого технологического предпринимательства «Мой </a:t>
            </a:r>
            <a:r>
              <a:rPr lang="ru-RU" sz="1600" b="1" spc="-5" dirty="0" err="1">
                <a:solidFill>
                  <a:schemeClr val="accent2">
                    <a:lumMod val="50000"/>
                  </a:schemeClr>
                </a:solidFill>
                <a:latin typeface="Lato Black"/>
                <a:ea typeface="+mj-ea"/>
                <a:cs typeface="Lato Black"/>
              </a:rPr>
              <a:t>стартап</a:t>
            </a:r>
            <a:r>
              <a:rPr lang="ru-RU" sz="1600" b="1" spc="-5" dirty="0">
                <a:solidFill>
                  <a:schemeClr val="accent2">
                    <a:lumMod val="50000"/>
                  </a:schemeClr>
                </a:solidFill>
                <a:latin typeface="Lato Black"/>
                <a:ea typeface="+mj-ea"/>
                <a:cs typeface="Lato Black"/>
              </a:rPr>
              <a:t>» 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4463" y="5845148"/>
            <a:ext cx="1661692" cy="950259"/>
          </a:xfrm>
          <a:prstGeom prst="rect">
            <a:avLst/>
          </a:prstGeom>
        </p:spPr>
      </p:pic>
      <p:grpSp>
        <p:nvGrpSpPr>
          <p:cNvPr id="12" name="Группа 11"/>
          <p:cNvGrpSpPr/>
          <p:nvPr/>
        </p:nvGrpSpPr>
        <p:grpSpPr>
          <a:xfrm>
            <a:off x="7628965" y="49163"/>
            <a:ext cx="2268068" cy="2891261"/>
            <a:chOff x="5699037" y="1158679"/>
            <a:chExt cx="4207116" cy="4540492"/>
          </a:xfrm>
        </p:grpSpPr>
        <p:grpSp>
          <p:nvGrpSpPr>
            <p:cNvPr id="13" name="object 10"/>
            <p:cNvGrpSpPr/>
            <p:nvPr/>
          </p:nvGrpSpPr>
          <p:grpSpPr>
            <a:xfrm>
              <a:off x="5699037" y="1158679"/>
              <a:ext cx="4207078" cy="3613531"/>
              <a:chOff x="11566123" y="1047087"/>
              <a:chExt cx="8538210" cy="7333615"/>
            </a:xfrm>
          </p:grpSpPr>
          <p:sp>
            <p:nvSpPr>
              <p:cNvPr id="15" name="object 11"/>
              <p:cNvSpPr/>
              <p:nvPr/>
            </p:nvSpPr>
            <p:spPr>
              <a:xfrm>
                <a:off x="12830283" y="1108417"/>
                <a:ext cx="7273925" cy="7272655"/>
              </a:xfrm>
              <a:custGeom>
                <a:avLst/>
                <a:gdLst/>
                <a:ahLst/>
                <a:cxnLst/>
                <a:rect l="l" t="t" r="r" b="b"/>
                <a:pathLst>
                  <a:path w="7273925" h="7272655">
                    <a:moveTo>
                      <a:pt x="7273809" y="0"/>
                    </a:moveTo>
                    <a:lnTo>
                      <a:pt x="5644561" y="0"/>
                    </a:lnTo>
                    <a:lnTo>
                      <a:pt x="5644561" y="2112050"/>
                    </a:lnTo>
                    <a:lnTo>
                      <a:pt x="2683876" y="2112050"/>
                    </a:lnTo>
                    <a:lnTo>
                      <a:pt x="2683876" y="3552080"/>
                    </a:lnTo>
                    <a:lnTo>
                      <a:pt x="12041" y="3552080"/>
                    </a:lnTo>
                    <a:lnTo>
                      <a:pt x="12041" y="5496115"/>
                    </a:lnTo>
                    <a:lnTo>
                      <a:pt x="0" y="5520125"/>
                    </a:lnTo>
                    <a:lnTo>
                      <a:pt x="2852373" y="5524093"/>
                    </a:lnTo>
                    <a:lnTo>
                      <a:pt x="2852373" y="7272155"/>
                    </a:lnTo>
                    <a:lnTo>
                      <a:pt x="7273809" y="7272155"/>
                    </a:lnTo>
                    <a:lnTo>
                      <a:pt x="7273809" y="0"/>
                    </a:lnTo>
                    <a:close/>
                  </a:path>
                </a:pathLst>
              </a:custGeom>
              <a:solidFill>
                <a:srgbClr val="457DA2"/>
              </a:solidFill>
            </p:spPr>
            <p:txBody>
              <a:bodyPr wrap="square" lIns="0" tIns="0" rIns="0" bIns="0" rtlCol="0"/>
              <a:lstStyle/>
              <a:p>
                <a:endParaRPr sz="885"/>
              </a:p>
            </p:txBody>
          </p:sp>
          <p:sp>
            <p:nvSpPr>
              <p:cNvPr id="16" name="object 12"/>
              <p:cNvSpPr/>
              <p:nvPr/>
            </p:nvSpPr>
            <p:spPr>
              <a:xfrm>
                <a:off x="11587065" y="1068029"/>
                <a:ext cx="6450330" cy="3185795"/>
              </a:xfrm>
              <a:custGeom>
                <a:avLst/>
                <a:gdLst/>
                <a:ahLst/>
                <a:cxnLst/>
                <a:rect l="l" t="t" r="r" b="b"/>
                <a:pathLst>
                  <a:path w="6450330" h="3185795">
                    <a:moveTo>
                      <a:pt x="6450002" y="1705937"/>
                    </a:moveTo>
                    <a:lnTo>
                      <a:pt x="3354002" y="1705937"/>
                    </a:lnTo>
                    <a:lnTo>
                      <a:pt x="3354002" y="3185295"/>
                    </a:lnTo>
                    <a:lnTo>
                      <a:pt x="0" y="3185295"/>
                    </a:lnTo>
                    <a:lnTo>
                      <a:pt x="0" y="990912"/>
                    </a:lnTo>
                    <a:lnTo>
                      <a:pt x="5136545" y="990912"/>
                    </a:lnTo>
                    <a:lnTo>
                      <a:pt x="5136545" y="0"/>
                    </a:lnTo>
                    <a:lnTo>
                      <a:pt x="6445112" y="0"/>
                    </a:lnTo>
                    <a:lnTo>
                      <a:pt x="6450002" y="1705937"/>
                    </a:lnTo>
                    <a:close/>
                  </a:path>
                </a:pathLst>
              </a:custGeom>
              <a:ln w="41883">
                <a:solidFill>
                  <a:srgbClr val="000000"/>
                </a:solidFill>
              </a:ln>
            </p:spPr>
            <p:txBody>
              <a:bodyPr wrap="square" lIns="0" tIns="0" rIns="0" bIns="0" rtlCol="0"/>
              <a:lstStyle/>
              <a:p>
                <a:endParaRPr sz="885"/>
              </a:p>
            </p:txBody>
          </p:sp>
        </p:grpSp>
        <p:sp>
          <p:nvSpPr>
            <p:cNvPr id="14" name="object 13"/>
            <p:cNvSpPr/>
            <p:nvPr/>
          </p:nvSpPr>
          <p:spPr>
            <a:xfrm>
              <a:off x="8208116" y="4991108"/>
              <a:ext cx="1698037" cy="708063"/>
            </a:xfrm>
            <a:custGeom>
              <a:avLst/>
              <a:gdLst/>
              <a:ahLst/>
              <a:cxnLst/>
              <a:rect l="l" t="t" r="r" b="b"/>
              <a:pathLst>
                <a:path w="3446144" h="1437004">
                  <a:moveTo>
                    <a:pt x="3445832" y="0"/>
                  </a:moveTo>
                  <a:lnTo>
                    <a:pt x="0" y="0"/>
                  </a:lnTo>
                  <a:lnTo>
                    <a:pt x="0" y="1436511"/>
                  </a:lnTo>
                  <a:lnTo>
                    <a:pt x="3445832" y="1436511"/>
                  </a:lnTo>
                  <a:lnTo>
                    <a:pt x="3445832" y="0"/>
                  </a:lnTo>
                  <a:close/>
                </a:path>
              </a:pathLst>
            </a:custGeom>
            <a:solidFill>
              <a:srgbClr val="E93B47"/>
            </a:solidFill>
          </p:spPr>
          <p:txBody>
            <a:bodyPr wrap="square" lIns="0" tIns="0" rIns="0" bIns="0" rtlCol="0"/>
            <a:lstStyle/>
            <a:p>
              <a:endParaRPr sz="885"/>
            </a:p>
          </p:txBody>
        </p:sp>
      </p:grpSp>
      <p:grpSp>
        <p:nvGrpSpPr>
          <p:cNvPr id="21" name="Группа 20"/>
          <p:cNvGrpSpPr/>
          <p:nvPr/>
        </p:nvGrpSpPr>
        <p:grpSpPr>
          <a:xfrm>
            <a:off x="717176" y="5971994"/>
            <a:ext cx="4545105" cy="19160"/>
            <a:chOff x="717176" y="5971994"/>
            <a:chExt cx="4545105" cy="19160"/>
          </a:xfrm>
        </p:grpSpPr>
        <p:cxnSp>
          <p:nvCxnSpPr>
            <p:cNvPr id="18" name="Прямая соединительная линия 17"/>
            <p:cNvCxnSpPr/>
            <p:nvPr/>
          </p:nvCxnSpPr>
          <p:spPr>
            <a:xfrm flipV="1">
              <a:off x="717176" y="5971994"/>
              <a:ext cx="4545105" cy="19160"/>
            </a:xfrm>
            <a:prstGeom prst="line">
              <a:avLst/>
            </a:prstGeom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Прямая соединительная линия 19"/>
            <p:cNvCxnSpPr/>
            <p:nvPr/>
          </p:nvCxnSpPr>
          <p:spPr>
            <a:xfrm>
              <a:off x="730620" y="5991154"/>
              <a:ext cx="1645026" cy="0"/>
            </a:xfrm>
            <a:prstGeom prst="line">
              <a:avLst/>
            </a:prstGeom>
            <a:ln w="28575">
              <a:solidFill>
                <a:schemeClr val="accent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Группа 21"/>
          <p:cNvGrpSpPr/>
          <p:nvPr/>
        </p:nvGrpSpPr>
        <p:grpSpPr>
          <a:xfrm>
            <a:off x="699123" y="4971517"/>
            <a:ext cx="4545105" cy="19160"/>
            <a:chOff x="717176" y="5971994"/>
            <a:chExt cx="4545105" cy="19160"/>
          </a:xfrm>
        </p:grpSpPr>
        <p:cxnSp>
          <p:nvCxnSpPr>
            <p:cNvPr id="23" name="Прямая соединительная линия 22"/>
            <p:cNvCxnSpPr/>
            <p:nvPr/>
          </p:nvCxnSpPr>
          <p:spPr>
            <a:xfrm flipV="1">
              <a:off x="717176" y="5971994"/>
              <a:ext cx="4545105" cy="19160"/>
            </a:xfrm>
            <a:prstGeom prst="line">
              <a:avLst/>
            </a:prstGeom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Прямая соединительная линия 23"/>
            <p:cNvCxnSpPr/>
            <p:nvPr/>
          </p:nvCxnSpPr>
          <p:spPr>
            <a:xfrm>
              <a:off x="730620" y="5991154"/>
              <a:ext cx="1645026" cy="0"/>
            </a:xfrm>
            <a:prstGeom prst="line">
              <a:avLst/>
            </a:prstGeom>
            <a:ln w="28575">
              <a:solidFill>
                <a:schemeClr val="accent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Прямоугольник 24"/>
          <p:cNvSpPr/>
          <p:nvPr/>
        </p:nvSpPr>
        <p:spPr>
          <a:xfrm>
            <a:off x="618565" y="4201052"/>
            <a:ext cx="7983568" cy="6943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9370" marR="18415">
              <a:lnSpc>
                <a:spcPct val="112000"/>
              </a:lnSpc>
              <a:spcBef>
                <a:spcPts val="630"/>
              </a:spcBef>
            </a:pPr>
            <a:r>
              <a:rPr lang="ru-RU" spc="-2" dirty="0">
                <a:solidFill>
                  <a:schemeClr val="accent2">
                    <a:lumMod val="50000"/>
                  </a:schemeClr>
                </a:solidFill>
                <a:latin typeface="Lato"/>
                <a:cs typeface="Lato"/>
              </a:rPr>
              <a:t>Рынок НТИ: </a:t>
            </a:r>
            <a:r>
              <a:rPr lang="ru-RU" spc="-2" dirty="0" smtClean="0">
                <a:solidFill>
                  <a:schemeClr val="accent2">
                    <a:lumMod val="50000"/>
                  </a:schemeClr>
                </a:solidFill>
                <a:latin typeface="Lato"/>
                <a:cs typeface="Lato"/>
              </a:rPr>
              <a:t>«</a:t>
            </a:r>
            <a:r>
              <a:rPr lang="ru-RU" spc="-2" dirty="0" err="1" smtClean="0">
                <a:solidFill>
                  <a:schemeClr val="accent2">
                    <a:lumMod val="50000"/>
                  </a:schemeClr>
                </a:solidFill>
                <a:latin typeface="Lato"/>
                <a:cs typeface="Lato"/>
              </a:rPr>
              <a:t>Технет</a:t>
            </a:r>
            <a:r>
              <a:rPr lang="ru-RU" spc="-2" dirty="0" smtClean="0">
                <a:solidFill>
                  <a:schemeClr val="accent2">
                    <a:lumMod val="50000"/>
                  </a:schemeClr>
                </a:solidFill>
                <a:latin typeface="Lato"/>
                <a:cs typeface="Lato"/>
              </a:rPr>
              <a:t>»</a:t>
            </a:r>
            <a:r>
              <a:rPr lang="ru-RU" spc="-2" dirty="0">
                <a:solidFill>
                  <a:schemeClr val="accent2">
                    <a:lumMod val="50000"/>
                  </a:schemeClr>
                </a:solidFill>
                <a:latin typeface="Lato"/>
                <a:cs typeface="Lato"/>
              </a:rPr>
              <a:t/>
            </a:r>
            <a:br>
              <a:rPr lang="ru-RU" spc="-2" dirty="0">
                <a:solidFill>
                  <a:schemeClr val="accent2">
                    <a:lumMod val="50000"/>
                  </a:schemeClr>
                </a:solidFill>
                <a:latin typeface="Lato"/>
                <a:cs typeface="Lato"/>
              </a:rPr>
            </a:br>
            <a:r>
              <a:rPr lang="ru-RU" spc="-2" dirty="0">
                <a:solidFill>
                  <a:schemeClr val="accent2">
                    <a:lumMod val="50000"/>
                  </a:schemeClr>
                </a:solidFill>
                <a:latin typeface="Lato"/>
                <a:cs typeface="Lato"/>
              </a:rPr>
              <a:t>Сквозная технология: </a:t>
            </a:r>
            <a:r>
              <a:rPr lang="ru-RU" spc="-2" dirty="0" smtClean="0">
                <a:solidFill>
                  <a:schemeClr val="accent2">
                    <a:lumMod val="50000"/>
                  </a:schemeClr>
                </a:solidFill>
                <a:latin typeface="Lato"/>
                <a:cs typeface="Lato"/>
              </a:rPr>
              <a:t>«</a:t>
            </a:r>
            <a:r>
              <a:rPr lang="ru-RU" dirty="0"/>
              <a:t>Широкополосные антенны, технология </a:t>
            </a:r>
            <a:r>
              <a:rPr lang="en-US" dirty="0" smtClean="0"/>
              <a:t>OFDM</a:t>
            </a:r>
            <a:r>
              <a:rPr lang="ru-RU" spc="-2" dirty="0" smtClean="0">
                <a:solidFill>
                  <a:schemeClr val="accent2">
                    <a:lumMod val="50000"/>
                  </a:schemeClr>
                </a:solidFill>
                <a:latin typeface="Lato"/>
                <a:cs typeface="Lato"/>
              </a:rPr>
              <a:t>»</a:t>
            </a:r>
            <a:endParaRPr lang="ru-RU" spc="-2" dirty="0">
              <a:solidFill>
                <a:schemeClr val="accent2">
                  <a:lumMod val="50000"/>
                </a:schemeClr>
              </a:solidFill>
              <a:latin typeface="Lato"/>
              <a:cs typeface="Lato"/>
            </a:endParaRP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295" y="29364"/>
            <a:ext cx="3576917" cy="1532397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32520" y="207927"/>
            <a:ext cx="1487395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5" b="1" dirty="0"/>
              <a:t>План по расходам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381000" y="754417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361820" y="-17097"/>
            <a:ext cx="1913281" cy="3340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570" dirty="0"/>
              <a:t>НАЗВАНИЕ ПРОЕКТА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/>
        </p:nvGraphicFramePr>
        <p:xfrm>
          <a:off x="581086" y="857287"/>
          <a:ext cx="8692393" cy="5783503"/>
        </p:xfrm>
        <a:graphic>
          <a:graphicData uri="http://schemas.openxmlformats.org/drawingml/2006/table">
            <a:tbl>
              <a:tblPr firstRow="1" firstCol="1" bandRow="1" bandCol="1">
                <a:tableStyleId>{69012ECD-51FC-41F1-AA8D-1B2483CD663E}</a:tableStyleId>
              </a:tblPr>
              <a:tblGrid>
                <a:gridCol w="617211"/>
                <a:gridCol w="3857571"/>
                <a:gridCol w="2160240"/>
                <a:gridCol w="2057371"/>
              </a:tblGrid>
              <a:tr h="160717">
                <a:tc rowSpan="2"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№</a:t>
                      </a:r>
                      <a:endParaRPr lang="ru-RU" sz="900" dirty="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indent="450215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Вид расходов</a:t>
                      </a:r>
                      <a:endParaRPr lang="ru-RU" sz="900" dirty="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 gridSpan="2"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Объем финансового </a:t>
                      </a:r>
                      <a:r>
                        <a:rPr lang="ru-RU" sz="900" dirty="0" smtClean="0">
                          <a:effectLst/>
                        </a:rPr>
                        <a:t>обеспечения</a:t>
                      </a:r>
                      <a:r>
                        <a:rPr lang="ru-RU" sz="900" baseline="0" dirty="0" smtClean="0">
                          <a:effectLst/>
                        </a:rPr>
                        <a:t> </a:t>
                      </a:r>
                      <a:r>
                        <a:rPr lang="ru-RU" sz="900" dirty="0" smtClean="0">
                          <a:effectLst/>
                        </a:rPr>
                        <a:t>реализации </a:t>
                      </a:r>
                      <a:r>
                        <a:rPr lang="ru-RU" sz="900" dirty="0">
                          <a:effectLst/>
                        </a:rPr>
                        <a:t>проекта (рублей)</a:t>
                      </a:r>
                      <a:endParaRPr lang="ru-RU" sz="900" dirty="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11606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2143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</a:rPr>
                        <a:t>за </a:t>
                      </a:r>
                      <a:r>
                        <a:rPr lang="ru-RU" sz="900" dirty="0">
                          <a:effectLst/>
                        </a:rPr>
                        <a:t>счет </a:t>
                      </a:r>
                      <a:r>
                        <a:rPr lang="ru-RU" sz="900" dirty="0" smtClean="0">
                          <a:effectLst/>
                        </a:rPr>
                        <a:t>средств </a:t>
                      </a:r>
                      <a:r>
                        <a:rPr lang="ru-RU" sz="900" dirty="0">
                          <a:effectLst/>
                        </a:rPr>
                        <a:t>федерального бюджета</a:t>
                      </a:r>
                      <a:endParaRPr lang="ru-RU" sz="900" dirty="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</a:rPr>
                        <a:t>за </a:t>
                      </a:r>
                      <a:r>
                        <a:rPr lang="ru-RU" sz="900" dirty="0">
                          <a:effectLst/>
                        </a:rPr>
                        <a:t>счет внебюджетных источников</a:t>
                      </a:r>
                      <a:endParaRPr lang="ru-RU" sz="900" dirty="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</a:tr>
              <a:tr h="289362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1</a:t>
                      </a:r>
                      <a:endParaRPr lang="ru-RU" sz="900" dirty="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расходы на оплату труда</a:t>
                      </a:r>
                      <a:endParaRPr lang="ru-RU" sz="900" dirty="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  <a:endParaRPr lang="ru-RU" sz="900" dirty="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</a:tr>
              <a:tr h="308606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2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материально-технические расходы</a:t>
                      </a:r>
                      <a:endParaRPr lang="ru-RU" sz="900" dirty="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>
                          <a:effectLst/>
                        </a:rPr>
                        <a:t> </a:t>
                      </a:r>
                      <a:endParaRPr lang="ru-RU" sz="9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</a:tr>
              <a:tr h="304645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3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технологические работы и услуги</a:t>
                      </a:r>
                      <a:endParaRPr lang="ru-RU" sz="900" dirty="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  <a:endParaRPr lang="ru-RU" sz="900" dirty="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</a:tr>
              <a:tr h="304645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4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заказ исследований</a:t>
                      </a:r>
                      <a:endParaRPr lang="ru-RU" sz="900" dirty="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>
                          <a:effectLst/>
                        </a:rPr>
                        <a:t> </a:t>
                      </a:r>
                      <a:endParaRPr lang="ru-RU" sz="9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</a:tr>
              <a:tr h="316527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5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расходы на патентование</a:t>
                      </a:r>
                      <a:endParaRPr lang="ru-RU" sz="900" dirty="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</a:tr>
              <a:tr h="308606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6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расходы на сертификацию</a:t>
                      </a:r>
                      <a:endParaRPr lang="ru-RU" sz="900" dirty="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>
                          <a:effectLst/>
                        </a:rPr>
                        <a:t> </a:t>
                      </a:r>
                      <a:endParaRPr lang="ru-RU" sz="9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</a:tr>
              <a:tr h="308606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7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патенты и ноу-хау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</a:tr>
              <a:tr h="308606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8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лицензионные платежи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  <a:endParaRPr lang="ru-RU" sz="900" dirty="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</a:tr>
              <a:tr h="304645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9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программное обеспечение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>
                          <a:effectLst/>
                        </a:rPr>
                        <a:t> </a:t>
                      </a:r>
                      <a:endParaRPr lang="ru-RU" sz="9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  <a:endParaRPr lang="ru-RU" sz="900" dirty="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</a:tr>
              <a:tr h="312566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10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консультационные услуги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  <a:endParaRPr lang="ru-RU" sz="900" dirty="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</a:tr>
              <a:tr h="342726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11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капитальное строительство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</a:tr>
              <a:tr h="325920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12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приобретение недвижимого имущества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</a:tr>
              <a:tr h="380806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13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аренда имущества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</a:tr>
              <a:tr h="339274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14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организационные расходы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</a:tr>
              <a:tr h="308606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15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командировочные расходы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</a:tr>
              <a:tr h="308606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16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прочие расходы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</a:tr>
              <a:tr h="190403">
                <a:tc gridSpan="2">
                  <a:txBody>
                    <a:bodyPr/>
                    <a:lstStyle/>
                    <a:p>
                      <a:pPr indent="450215"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Всего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  <a:endParaRPr lang="ru-RU" sz="900" dirty="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043995" y="1063023"/>
            <a:ext cx="184731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1285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82591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Picture 2066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82591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425452" y="881265"/>
          <a:ext cx="2156460" cy="12608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0037"/>
                <a:gridCol w="1406423"/>
              </a:tblGrid>
              <a:tr h="193155">
                <a:tc gridSpan="2">
                  <a:txBody>
                    <a:bodyPr/>
                    <a:lstStyle/>
                    <a:p>
                      <a:r>
                        <a:rPr lang="ru-RU" sz="900" dirty="0" smtClean="0">
                          <a:solidFill>
                            <a:schemeClr val="bg1"/>
                          </a:solidFill>
                        </a:rPr>
                        <a:t>УЧАСТНИКИ</a:t>
                      </a:r>
                      <a:endParaRPr lang="ru-RU" sz="900" dirty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7914">
                <a:tc>
                  <a:txBody>
                    <a:bodyPr/>
                    <a:lstStyle/>
                    <a:p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Руководитель</a:t>
                      </a:r>
                      <a:r>
                        <a:rPr lang="ru-RU" sz="700" baseline="0" dirty="0" smtClean="0">
                          <a:solidFill>
                            <a:schemeClr val="tx1"/>
                          </a:solidFill>
                        </a:rPr>
                        <a:t> проекта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0" marR="36000" marT="21600" marB="252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ФИО и организация</a:t>
                      </a:r>
                      <a:endParaRPr lang="ru-RU" sz="7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21600" marB="252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7914">
                <a:tc>
                  <a:txBody>
                    <a:bodyPr/>
                    <a:lstStyle/>
                    <a:p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Получатель поддержки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0" marR="36000" marT="21600" marB="252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Организация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21600" marB="252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8429">
                <a:tc>
                  <a:txBody>
                    <a:bodyPr/>
                    <a:lstStyle/>
                    <a:p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Соисполнитель 1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0" marR="36000" marT="21600" marB="252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рганизация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21600" marB="252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3390">
                <a:tc>
                  <a:txBody>
                    <a:bodyPr/>
                    <a:lstStyle/>
                    <a:p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Соисполнитель 2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0" marR="36000" marT="21600" marB="252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рганизация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21600" marB="252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66" name="Таблица 65"/>
          <p:cNvGraphicFramePr>
            <a:graphicFrameLocks noGrp="1"/>
          </p:cNvGraphicFramePr>
          <p:nvPr/>
        </p:nvGraphicFramePr>
        <p:xfrm>
          <a:off x="2682240" y="877568"/>
          <a:ext cx="2207456" cy="13225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5832"/>
                <a:gridCol w="1091624"/>
              </a:tblGrid>
              <a:tr h="189232">
                <a:tc gridSpan="2">
                  <a:txBody>
                    <a:bodyPr/>
                    <a:lstStyle/>
                    <a:p>
                      <a:r>
                        <a:rPr lang="ru-RU" sz="900" dirty="0" smtClean="0">
                          <a:solidFill>
                            <a:schemeClr val="bg1"/>
                          </a:solidFill>
                        </a:rPr>
                        <a:t>БЮДЖЕТ ( тыс.</a:t>
                      </a:r>
                      <a:r>
                        <a:rPr lang="ru-RU" sz="9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900" dirty="0" smtClean="0">
                          <a:solidFill>
                            <a:schemeClr val="bg1"/>
                          </a:solidFill>
                        </a:rPr>
                        <a:t>руб. с учетом</a:t>
                      </a:r>
                      <a:r>
                        <a:rPr lang="ru-RU" sz="900" baseline="0" dirty="0" smtClean="0">
                          <a:solidFill>
                            <a:schemeClr val="bg1"/>
                          </a:solidFill>
                        </a:rPr>
                        <a:t> налогов</a:t>
                      </a:r>
                      <a:r>
                        <a:rPr lang="ru-RU" sz="900" dirty="0" smtClean="0">
                          <a:solidFill>
                            <a:schemeClr val="bg1"/>
                          </a:solidFill>
                        </a:rPr>
                        <a:t>)</a:t>
                      </a:r>
                      <a:endParaRPr lang="ru-RU" sz="900" dirty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702">
                <a:tc>
                  <a:txBody>
                    <a:bodyPr/>
                    <a:lstStyle/>
                    <a:p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Форма</a:t>
                      </a:r>
                      <a:r>
                        <a:rPr lang="ru-RU" sz="700" baseline="0" dirty="0" smtClean="0">
                          <a:solidFill>
                            <a:schemeClr val="tx1"/>
                          </a:solidFill>
                        </a:rPr>
                        <a:t> поддержки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0" marR="36000" marT="32400" marB="324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2400" marB="324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2702">
                <a:tc>
                  <a:txBody>
                    <a:bodyPr/>
                    <a:lstStyle/>
                    <a:p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Затраты всего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0" marR="36000" marT="32400" marB="324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2400" marB="324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2702">
                <a:tc>
                  <a:txBody>
                    <a:bodyPr/>
                    <a:lstStyle/>
                    <a:p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Бюджетная поддержка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0" marR="36000" marT="32400" marB="324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2400" marB="324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251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Внебюджетная</a:t>
                      </a:r>
                      <a:r>
                        <a:rPr lang="ru-RU" sz="700" baseline="0" dirty="0" smtClean="0">
                          <a:solidFill>
                            <a:schemeClr val="tx1"/>
                          </a:solidFill>
                        </a:rPr>
                        <a:t> поддержка/источники</a:t>
                      </a:r>
                    </a:p>
                  </a:txBody>
                  <a:tcPr marL="0" marR="36000" marT="32400" marB="324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2400" marB="324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2714">
                <a:tc>
                  <a:txBody>
                    <a:bodyPr/>
                    <a:lstStyle/>
                    <a:p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% бюджетной поддержки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0" marR="36000" marT="32400" marB="324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2400" marB="324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3" name="Таблица 72"/>
          <p:cNvGraphicFramePr>
            <a:graphicFrameLocks noGrp="1"/>
          </p:cNvGraphicFramePr>
          <p:nvPr/>
        </p:nvGraphicFramePr>
        <p:xfrm>
          <a:off x="377192" y="2508246"/>
          <a:ext cx="4480560" cy="2703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80560"/>
              </a:tblGrid>
              <a:tr h="2703833">
                <a:tc>
                  <a:txBody>
                    <a:bodyPr/>
                    <a:lstStyle/>
                    <a:p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99" name="Таблица 98"/>
          <p:cNvGraphicFramePr>
            <a:graphicFrameLocks noGrp="1"/>
          </p:cNvGraphicFramePr>
          <p:nvPr/>
        </p:nvGraphicFramePr>
        <p:xfrm>
          <a:off x="381002" y="2364735"/>
          <a:ext cx="4473574" cy="1415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73574"/>
              </a:tblGrid>
              <a:tr h="141514">
                <a:tc>
                  <a:txBody>
                    <a:bodyPr/>
                    <a:lstStyle/>
                    <a:p>
                      <a:r>
                        <a:rPr lang="ru-RU" sz="900" dirty="0" smtClean="0">
                          <a:solidFill>
                            <a:schemeClr val="bg1"/>
                          </a:solidFill>
                        </a:rPr>
                        <a:t>ЦЕЛЬ ПРОЕКТА И ОПИСАНИЕ ПРОДУКТА</a:t>
                      </a:r>
                      <a:endParaRPr lang="ru-RU" sz="900" dirty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02" name="Таблица 101"/>
          <p:cNvGraphicFramePr>
            <a:graphicFrameLocks noGrp="1"/>
          </p:cNvGraphicFramePr>
          <p:nvPr/>
        </p:nvGraphicFramePr>
        <p:xfrm>
          <a:off x="5038054" y="877567"/>
          <a:ext cx="4486946" cy="1415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86946"/>
              </a:tblGrid>
              <a:tr h="141514">
                <a:tc>
                  <a:txBody>
                    <a:bodyPr/>
                    <a:lstStyle/>
                    <a:p>
                      <a:r>
                        <a:rPr lang="ru-RU" sz="900" dirty="0" smtClean="0">
                          <a:solidFill>
                            <a:schemeClr val="bg1"/>
                          </a:solidFill>
                        </a:rPr>
                        <a:t>ПЛАН РАБОТ</a:t>
                      </a:r>
                      <a:endParaRPr lang="ru-RU" sz="900" dirty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03" name="Таблица 102"/>
          <p:cNvGraphicFramePr>
            <a:graphicFrameLocks noGrp="1"/>
          </p:cNvGraphicFramePr>
          <p:nvPr/>
        </p:nvGraphicFramePr>
        <p:xfrm>
          <a:off x="5038054" y="1045922"/>
          <a:ext cx="4453563" cy="42110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11124"/>
                <a:gridCol w="451504"/>
                <a:gridCol w="101277"/>
                <a:gridCol w="552781"/>
                <a:gridCol w="552781"/>
                <a:gridCol w="584096"/>
              </a:tblGrid>
              <a:tr h="309154">
                <a:tc rowSpan="2">
                  <a:txBody>
                    <a:bodyPr/>
                    <a:lstStyle/>
                    <a:p>
                      <a:pPr algn="ctr"/>
                      <a:r>
                        <a:rPr lang="ru-RU" sz="7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Этап</a:t>
                      </a:r>
                      <a:r>
                        <a:rPr lang="ru-RU" sz="700" b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ы / Основные мероприятия</a:t>
                      </a:r>
                      <a:endParaRPr lang="ru-RU" sz="7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700" b="1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Ответст</a:t>
                      </a:r>
                      <a:r>
                        <a:rPr lang="ru-RU" sz="7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-венный</a:t>
                      </a:r>
                      <a:endParaRPr lang="ru-RU" sz="7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 algn="ctr"/>
                      <a:r>
                        <a:rPr lang="ru-RU" sz="7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Срок реализации</a:t>
                      </a:r>
                    </a:p>
                    <a:p>
                      <a:pPr algn="ctr"/>
                      <a:r>
                        <a:rPr lang="ru-RU" sz="7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План</a:t>
                      </a:r>
                    </a:p>
                    <a:p>
                      <a:pPr algn="ctr"/>
                      <a:endParaRPr lang="ru-RU" sz="7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7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Бюджет (тыс. руб. с учетом</a:t>
                      </a:r>
                      <a:r>
                        <a:rPr lang="ru-RU" sz="700" b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налогов</a:t>
                      </a:r>
                      <a:r>
                        <a:rPr lang="ru-RU" sz="7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)</a:t>
                      </a:r>
                      <a:endParaRPr lang="ru-RU" sz="7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53443" marR="53443" marT="50419" marB="50419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42311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 marL="53443" marR="53443" marT="50419" marB="50419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 marL="53443" marR="53443" marT="50419" marB="50419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Бюджетная </a:t>
                      </a:r>
                      <a:r>
                        <a:rPr lang="ru-RU" sz="700" b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поддержка</a:t>
                      </a:r>
                      <a:endParaRPr lang="ru-RU" sz="7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1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Внебюджет</a:t>
                      </a:r>
                      <a:r>
                        <a:rPr lang="ru-RU" sz="7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.</a:t>
                      </a:r>
                      <a:r>
                        <a:rPr lang="ru-RU" sz="700" b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7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поддержка</a:t>
                      </a:r>
                      <a:endParaRPr lang="ru-RU" sz="7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141514">
                <a:tc gridSpan="6">
                  <a:txBody>
                    <a:bodyPr/>
                    <a:lstStyle/>
                    <a:p>
                      <a:pPr algn="l" fontAlgn="t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тап</a:t>
                      </a:r>
                      <a:r>
                        <a:rPr lang="ru-RU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1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CFD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1514">
                <a:tc gridSpan="6">
                  <a:txBody>
                    <a:bodyPr/>
                    <a:lstStyle/>
                    <a:p>
                      <a:pPr algn="l" fontAlgn="t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тап 2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CFD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3616">
                <a:tc gridSpan="6">
                  <a:txBody>
                    <a:bodyPr/>
                    <a:lstStyle/>
                    <a:p>
                      <a:pPr algn="l" fontAlgn="t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тап 3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CFD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1514">
                <a:tc gridSpan="6"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тап 4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CFD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5678">
                <a:tc gridSpan="6">
                  <a:txBody>
                    <a:bodyPr/>
                    <a:lstStyle/>
                    <a:p>
                      <a:pPr algn="l" fontAlgn="t"/>
                      <a:r>
                        <a:rPr lang="ru-RU" sz="9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вершение</a:t>
                      </a:r>
                      <a:endParaRPr lang="ru-RU" sz="9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CFD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</a:tr>
              <a:tr h="217714">
                <a:tc>
                  <a:txBody>
                    <a:bodyPr/>
                    <a:lstStyle/>
                    <a:p>
                      <a:pPr algn="l" fontAlgn="t"/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тоговый</a:t>
                      </a:r>
                      <a:r>
                        <a:rPr lang="ru-RU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отчет о результатах проекта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04" name="Таблица 103"/>
          <p:cNvGraphicFramePr>
            <a:graphicFrameLocks noGrp="1"/>
          </p:cNvGraphicFramePr>
          <p:nvPr/>
        </p:nvGraphicFramePr>
        <p:xfrm>
          <a:off x="381003" y="5315354"/>
          <a:ext cx="4483099" cy="1415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83099"/>
              </a:tblGrid>
              <a:tr h="141514">
                <a:tc>
                  <a:txBody>
                    <a:bodyPr/>
                    <a:lstStyle/>
                    <a:p>
                      <a:r>
                        <a:rPr lang="ru-RU" sz="900" dirty="0" smtClean="0">
                          <a:solidFill>
                            <a:schemeClr val="bg1"/>
                          </a:solidFill>
                        </a:rPr>
                        <a:t>ЦЕЛЕВЫЕ</a:t>
                      </a:r>
                      <a:r>
                        <a:rPr lang="ru-RU" sz="900" baseline="0" dirty="0" smtClean="0">
                          <a:solidFill>
                            <a:schemeClr val="bg1"/>
                          </a:solidFill>
                        </a:rPr>
                        <a:t> ПОКАЗАТЕЛИ</a:t>
                      </a:r>
                      <a:endParaRPr lang="ru-RU" sz="900" dirty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05" name="Таблица 104"/>
          <p:cNvGraphicFramePr>
            <a:graphicFrameLocks noGrp="1"/>
          </p:cNvGraphicFramePr>
          <p:nvPr/>
        </p:nvGraphicFramePr>
        <p:xfrm>
          <a:off x="381000" y="5484817"/>
          <a:ext cx="4483103" cy="11391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37854"/>
                <a:gridCol w="586694"/>
                <a:gridCol w="529654"/>
                <a:gridCol w="431871"/>
                <a:gridCol w="464466"/>
                <a:gridCol w="415575"/>
                <a:gridCol w="416989"/>
              </a:tblGrid>
              <a:tr h="293114">
                <a:tc>
                  <a:txBody>
                    <a:bodyPr/>
                    <a:lstStyle/>
                    <a:p>
                      <a:pPr algn="ctr"/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ЦЕЛЕВОЙ ПОКАЗАТЕЛЬ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ЕДИНИЦЫ</a:t>
                      </a:r>
                      <a:r>
                        <a:rPr lang="ru-RU" sz="700" baseline="0" dirty="0" smtClean="0">
                          <a:solidFill>
                            <a:schemeClr val="tx1"/>
                          </a:solidFill>
                        </a:rPr>
                        <a:t> ИЗМЕРЕНИЯ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ИСХОДНОЕ</a:t>
                      </a:r>
                      <a:r>
                        <a:rPr lang="ru-RU" sz="700" baseline="0" dirty="0" smtClean="0">
                          <a:solidFill>
                            <a:schemeClr val="tx1"/>
                          </a:solidFill>
                        </a:rPr>
                        <a:t> ЗНАЧЕНИЕ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20__</a:t>
                      </a:r>
                    </a:p>
                    <a:p>
                      <a:pPr algn="ctr"/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20__</a:t>
                      </a:r>
                    </a:p>
                    <a:p>
                      <a:pPr algn="ctr"/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20__</a:t>
                      </a:r>
                    </a:p>
                    <a:p>
                      <a:pPr algn="ctr"/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20__</a:t>
                      </a:r>
                    </a:p>
                    <a:p>
                      <a:pPr algn="ctr"/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248754"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8754"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427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4278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cxnSp>
        <p:nvCxnSpPr>
          <p:cNvPr id="17" name="Прямая соединительная линия 16"/>
          <p:cNvCxnSpPr/>
          <p:nvPr/>
        </p:nvCxnSpPr>
        <p:spPr bwMode="auto">
          <a:xfrm>
            <a:off x="2617472" y="877568"/>
            <a:ext cx="0" cy="1381125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8" name="Прямая соединительная линия 107"/>
          <p:cNvCxnSpPr/>
          <p:nvPr/>
        </p:nvCxnSpPr>
        <p:spPr bwMode="auto">
          <a:xfrm>
            <a:off x="4951512" y="882698"/>
            <a:ext cx="0" cy="5723842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8" name="Номер слайда 4"/>
          <p:cNvSpPr txBox="1"/>
          <p:nvPr/>
        </p:nvSpPr>
        <p:spPr>
          <a:xfrm>
            <a:off x="7237646" y="6412493"/>
            <a:ext cx="2057400" cy="365125"/>
          </a:xfrm>
          <a:prstGeom prst="rect">
            <a:avLst/>
          </a:prstGeom>
        </p:spPr>
        <p:txBody>
          <a:bodyPr vert="horz" lIns="87273" tIns="43636" rIns="87273" bIns="43636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Chevin Pro Light" charset="0"/>
                <a:cs typeface="Chevin Pro Light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EF660E9-E116-4F2D-91B7-27BAC0D3A970}" type="slidenum">
              <a:rPr lang="ru-RU" sz="855"/>
              <a:t>11</a:t>
            </a:fld>
            <a:endParaRPr lang="ru-RU" sz="855" dirty="0"/>
          </a:p>
        </p:txBody>
      </p:sp>
      <p:sp>
        <p:nvSpPr>
          <p:cNvPr id="3" name="TextBox 2"/>
          <p:cNvSpPr txBox="1"/>
          <p:nvPr/>
        </p:nvSpPr>
        <p:spPr>
          <a:xfrm>
            <a:off x="3554136" y="191813"/>
            <a:ext cx="5552097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85" dirty="0">
                <a:solidFill>
                  <a:srgbClr val="FF0000"/>
                </a:solidFill>
              </a:rPr>
              <a:t>(</a:t>
            </a:r>
            <a:r>
              <a:rPr lang="ru-RU" sz="1285" dirty="0">
                <a:solidFill>
                  <a:srgbClr val="FF0000"/>
                </a:solidFill>
              </a:rPr>
              <a:t>заполняется </a:t>
            </a:r>
            <a:r>
              <a:rPr lang="ru-RU" sz="1285" dirty="0" smtClean="0">
                <a:solidFill>
                  <a:srgbClr val="FF0000"/>
                </a:solidFill>
              </a:rPr>
              <a:t>опционально при желании получения бюджетной поддержки)</a:t>
            </a:r>
            <a:endParaRPr lang="ru-RU" sz="1285" dirty="0">
              <a:solidFill>
                <a:srgbClr val="FF0000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61820" y="-17097"/>
            <a:ext cx="1913281" cy="3340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570" dirty="0"/>
              <a:t>НАЗВАНИЕ ПРОЕКТА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32520" y="207927"/>
            <a:ext cx="2045816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5" b="1" dirty="0" smtClean="0"/>
              <a:t>Резюме (модель) проекта</a:t>
            </a:r>
            <a:endParaRPr lang="ru-RU" sz="1285" b="1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 txBox="1"/>
          <p:nvPr/>
        </p:nvSpPr>
        <p:spPr>
          <a:xfrm>
            <a:off x="730620" y="2526127"/>
            <a:ext cx="9072282" cy="1121711"/>
          </a:xfrm>
          <a:prstGeom prst="rect">
            <a:avLst/>
          </a:prstGeom>
        </p:spPr>
        <p:txBody>
          <a:bodyPr>
            <a:noAutofit/>
          </a:bodyPr>
          <a:lstStyle>
            <a:lvl1pPr algn="l" defTabSz="84010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9370" marR="18415">
              <a:lnSpc>
                <a:spcPct val="112000"/>
              </a:lnSpc>
              <a:spcBef>
                <a:spcPts val="630"/>
              </a:spcBef>
            </a:pPr>
            <a:r>
              <a:rPr lang="ru-RU" sz="4800" spc="-44" dirty="0" smtClean="0">
                <a:solidFill>
                  <a:schemeClr val="accent2">
                    <a:lumMod val="50000"/>
                  </a:schemeClr>
                </a:solidFill>
                <a:latin typeface="Lato Black"/>
                <a:cs typeface="Lato Black"/>
              </a:rPr>
              <a:t>Спасибо за внимание!</a:t>
            </a:r>
            <a:r>
              <a:rPr lang="ru-RU" b="1" dirty="0" smtClean="0">
                <a:solidFill>
                  <a:schemeClr val="accent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/>
            </a:r>
            <a:br>
              <a:rPr lang="ru-RU" b="1" dirty="0" smtClean="0">
                <a:solidFill>
                  <a:schemeClr val="accent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endParaRPr lang="ru-RU" sz="2400" spc="-2" dirty="0">
              <a:solidFill>
                <a:schemeClr val="accent2">
                  <a:lumMod val="50000"/>
                </a:schemeClr>
              </a:solidFill>
              <a:latin typeface="Lato"/>
              <a:cs typeface="Lato"/>
            </a:endParaRPr>
          </a:p>
        </p:txBody>
      </p:sp>
      <p:sp>
        <p:nvSpPr>
          <p:cNvPr id="3" name="Нижний колонтитул 3"/>
          <p:cNvSpPr txBox="1"/>
          <p:nvPr/>
        </p:nvSpPr>
        <p:spPr>
          <a:xfrm>
            <a:off x="636487" y="6137714"/>
            <a:ext cx="2788025" cy="365125"/>
          </a:xfrm>
          <a:prstGeom prst="rect">
            <a:avLst/>
          </a:prstGeom>
        </p:spPr>
        <p:txBody>
          <a:bodyPr vert="horz" lIns="83988" tIns="41994" rIns="83988" bIns="41994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65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1600" dirty="0" smtClean="0">
                <a:solidFill>
                  <a:schemeClr val="accent4">
                    <a:lumMod val="50000"/>
                  </a:schemeClr>
                </a:solidFill>
              </a:rPr>
              <a:t>2022, РГРТУ</a:t>
            </a:r>
            <a:endParaRPr lang="ru-RU" sz="1600" dirty="0">
              <a:solidFill>
                <a:schemeClr val="accent4">
                  <a:lumMod val="50000"/>
                </a:schemeClr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4463" y="5845148"/>
            <a:ext cx="1661692" cy="950259"/>
          </a:xfrm>
          <a:prstGeom prst="rect">
            <a:avLst/>
          </a:prstGeom>
        </p:spPr>
      </p:pic>
      <p:grpSp>
        <p:nvGrpSpPr>
          <p:cNvPr id="12" name="Группа 11"/>
          <p:cNvGrpSpPr/>
          <p:nvPr/>
        </p:nvGrpSpPr>
        <p:grpSpPr>
          <a:xfrm>
            <a:off x="7628965" y="49163"/>
            <a:ext cx="2268068" cy="2891261"/>
            <a:chOff x="5699037" y="1158679"/>
            <a:chExt cx="4207116" cy="4540492"/>
          </a:xfrm>
        </p:grpSpPr>
        <p:grpSp>
          <p:nvGrpSpPr>
            <p:cNvPr id="13" name="object 10"/>
            <p:cNvGrpSpPr/>
            <p:nvPr/>
          </p:nvGrpSpPr>
          <p:grpSpPr>
            <a:xfrm>
              <a:off x="5699037" y="1158679"/>
              <a:ext cx="4207078" cy="3613531"/>
              <a:chOff x="11566123" y="1047087"/>
              <a:chExt cx="8538210" cy="7333615"/>
            </a:xfrm>
          </p:grpSpPr>
          <p:sp>
            <p:nvSpPr>
              <p:cNvPr id="15" name="object 11"/>
              <p:cNvSpPr/>
              <p:nvPr/>
            </p:nvSpPr>
            <p:spPr>
              <a:xfrm>
                <a:off x="12830283" y="1108417"/>
                <a:ext cx="7273925" cy="7272655"/>
              </a:xfrm>
              <a:custGeom>
                <a:avLst/>
                <a:gdLst/>
                <a:ahLst/>
                <a:cxnLst/>
                <a:rect l="l" t="t" r="r" b="b"/>
                <a:pathLst>
                  <a:path w="7273925" h="7272655">
                    <a:moveTo>
                      <a:pt x="7273809" y="0"/>
                    </a:moveTo>
                    <a:lnTo>
                      <a:pt x="5644561" y="0"/>
                    </a:lnTo>
                    <a:lnTo>
                      <a:pt x="5644561" y="2112050"/>
                    </a:lnTo>
                    <a:lnTo>
                      <a:pt x="2683876" y="2112050"/>
                    </a:lnTo>
                    <a:lnTo>
                      <a:pt x="2683876" y="3552080"/>
                    </a:lnTo>
                    <a:lnTo>
                      <a:pt x="12041" y="3552080"/>
                    </a:lnTo>
                    <a:lnTo>
                      <a:pt x="12041" y="5496115"/>
                    </a:lnTo>
                    <a:lnTo>
                      <a:pt x="0" y="5520125"/>
                    </a:lnTo>
                    <a:lnTo>
                      <a:pt x="2852373" y="5524093"/>
                    </a:lnTo>
                    <a:lnTo>
                      <a:pt x="2852373" y="7272155"/>
                    </a:lnTo>
                    <a:lnTo>
                      <a:pt x="7273809" y="7272155"/>
                    </a:lnTo>
                    <a:lnTo>
                      <a:pt x="7273809" y="0"/>
                    </a:lnTo>
                    <a:close/>
                  </a:path>
                </a:pathLst>
              </a:custGeom>
              <a:solidFill>
                <a:srgbClr val="457DA2"/>
              </a:solidFill>
            </p:spPr>
            <p:txBody>
              <a:bodyPr wrap="square" lIns="0" tIns="0" rIns="0" bIns="0" rtlCol="0"/>
              <a:lstStyle/>
              <a:p>
                <a:endParaRPr sz="885"/>
              </a:p>
            </p:txBody>
          </p:sp>
          <p:sp>
            <p:nvSpPr>
              <p:cNvPr id="16" name="object 12"/>
              <p:cNvSpPr/>
              <p:nvPr/>
            </p:nvSpPr>
            <p:spPr>
              <a:xfrm>
                <a:off x="11587065" y="1068029"/>
                <a:ext cx="6450330" cy="3185795"/>
              </a:xfrm>
              <a:custGeom>
                <a:avLst/>
                <a:gdLst/>
                <a:ahLst/>
                <a:cxnLst/>
                <a:rect l="l" t="t" r="r" b="b"/>
                <a:pathLst>
                  <a:path w="6450330" h="3185795">
                    <a:moveTo>
                      <a:pt x="6450002" y="1705937"/>
                    </a:moveTo>
                    <a:lnTo>
                      <a:pt x="3354002" y="1705937"/>
                    </a:lnTo>
                    <a:lnTo>
                      <a:pt x="3354002" y="3185295"/>
                    </a:lnTo>
                    <a:lnTo>
                      <a:pt x="0" y="3185295"/>
                    </a:lnTo>
                    <a:lnTo>
                      <a:pt x="0" y="990912"/>
                    </a:lnTo>
                    <a:lnTo>
                      <a:pt x="5136545" y="990912"/>
                    </a:lnTo>
                    <a:lnTo>
                      <a:pt x="5136545" y="0"/>
                    </a:lnTo>
                    <a:lnTo>
                      <a:pt x="6445112" y="0"/>
                    </a:lnTo>
                    <a:lnTo>
                      <a:pt x="6450002" y="1705937"/>
                    </a:lnTo>
                    <a:close/>
                  </a:path>
                </a:pathLst>
              </a:custGeom>
              <a:ln w="41883">
                <a:solidFill>
                  <a:srgbClr val="000000"/>
                </a:solidFill>
              </a:ln>
            </p:spPr>
            <p:txBody>
              <a:bodyPr wrap="square" lIns="0" tIns="0" rIns="0" bIns="0" rtlCol="0"/>
              <a:lstStyle/>
              <a:p>
                <a:endParaRPr sz="885"/>
              </a:p>
            </p:txBody>
          </p:sp>
        </p:grpSp>
        <p:sp>
          <p:nvSpPr>
            <p:cNvPr id="14" name="object 13"/>
            <p:cNvSpPr/>
            <p:nvPr/>
          </p:nvSpPr>
          <p:spPr>
            <a:xfrm>
              <a:off x="8208116" y="4991108"/>
              <a:ext cx="1698037" cy="708063"/>
            </a:xfrm>
            <a:custGeom>
              <a:avLst/>
              <a:gdLst/>
              <a:ahLst/>
              <a:cxnLst/>
              <a:rect l="l" t="t" r="r" b="b"/>
              <a:pathLst>
                <a:path w="3446144" h="1437004">
                  <a:moveTo>
                    <a:pt x="3445832" y="0"/>
                  </a:moveTo>
                  <a:lnTo>
                    <a:pt x="0" y="0"/>
                  </a:lnTo>
                  <a:lnTo>
                    <a:pt x="0" y="1436511"/>
                  </a:lnTo>
                  <a:lnTo>
                    <a:pt x="3445832" y="1436511"/>
                  </a:lnTo>
                  <a:lnTo>
                    <a:pt x="3445832" y="0"/>
                  </a:lnTo>
                  <a:close/>
                </a:path>
              </a:pathLst>
            </a:custGeom>
            <a:solidFill>
              <a:srgbClr val="E93B47"/>
            </a:solidFill>
          </p:spPr>
          <p:txBody>
            <a:bodyPr wrap="square" lIns="0" tIns="0" rIns="0" bIns="0" rtlCol="0"/>
            <a:lstStyle/>
            <a:p>
              <a:endParaRPr sz="885"/>
            </a:p>
          </p:txBody>
        </p:sp>
      </p:grpSp>
      <p:grpSp>
        <p:nvGrpSpPr>
          <p:cNvPr id="21" name="Группа 20"/>
          <p:cNvGrpSpPr/>
          <p:nvPr/>
        </p:nvGrpSpPr>
        <p:grpSpPr>
          <a:xfrm>
            <a:off x="717176" y="5971994"/>
            <a:ext cx="4545105" cy="19160"/>
            <a:chOff x="717176" y="5971994"/>
            <a:chExt cx="4545105" cy="19160"/>
          </a:xfrm>
        </p:grpSpPr>
        <p:cxnSp>
          <p:nvCxnSpPr>
            <p:cNvPr id="18" name="Прямая соединительная линия 17"/>
            <p:cNvCxnSpPr/>
            <p:nvPr/>
          </p:nvCxnSpPr>
          <p:spPr>
            <a:xfrm flipV="1">
              <a:off x="717176" y="5971994"/>
              <a:ext cx="4545105" cy="19160"/>
            </a:xfrm>
            <a:prstGeom prst="line">
              <a:avLst/>
            </a:prstGeom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Прямая соединительная линия 19"/>
            <p:cNvCxnSpPr/>
            <p:nvPr/>
          </p:nvCxnSpPr>
          <p:spPr>
            <a:xfrm>
              <a:off x="730620" y="5991154"/>
              <a:ext cx="1645026" cy="0"/>
            </a:xfrm>
            <a:prstGeom prst="line">
              <a:avLst/>
            </a:prstGeom>
            <a:ln w="28575">
              <a:solidFill>
                <a:schemeClr val="accent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7" name="Рисунок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295" y="29364"/>
            <a:ext cx="3576917" cy="1532397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 smtClean="0"/>
              <a:t>Набор иконок для визуализации моделей</a:t>
            </a:r>
            <a:endParaRPr lang="ru-RU" b="1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t>09.11.2023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1220" y="6426078"/>
            <a:ext cx="2228850" cy="365125"/>
          </a:xfrm>
        </p:spPr>
        <p:txBody>
          <a:bodyPr/>
          <a:lstStyle/>
          <a:p>
            <a:fld id="{3EF660E9-E116-4F2D-91B7-27BAC0D3A970}" type="slidenum">
              <a:rPr lang="ru-RU" smtClean="0"/>
              <a:t>13</a:t>
            </a:fld>
            <a:endParaRPr lang="ru-RU" dirty="0"/>
          </a:p>
        </p:txBody>
      </p:sp>
      <p:pic>
        <p:nvPicPr>
          <p:cNvPr id="9" name="Picture 86" descr="C:\Users\pankratov.in\YandexDisk\!NTI\DOCS\ProjectPresentation\icons\PNG\256\32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190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87" descr="C:\Users\pankratov.in\YandexDisk\!NTI\DOCS\ProjectPresentation\icons\PNG\256\241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6890" y="187236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88" descr="C:\Users\pankratov.in\YandexDisk\!NTI\DOCS\ProjectPresentation\icons\PNG\256\242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4751" y="19227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89" descr="C:\Users\pankratov.in\YandexDisk\!NTI\DOCS\ProjectPresentation\icons\PNG\256\243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2720" y="190807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90" descr="C:\Users\pankratov.in\YandexDisk\!NTI\DOCS\ProjectPresentation\icons\PNG\256\244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5963" y="19227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91" descr="C:\Users\pankratov.in\YandexDisk\!NTI\DOCS\ProjectPresentation\icons\PNG\256\245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9569" y="186311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92" descr="C:\Users\pankratov.in\YandexDisk\!NTI\DOCS\ProjectPresentation\icons\PNG\256\246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3279" y="187236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93" descr="C:\Users\pankratov.in\YandexDisk\!NTI\DOCS\ProjectPresentation\icons\PNG\256\247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6989" y="186311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94" descr="C:\Users\pankratov.in\YandexDisk\!NTI\DOCS\ProjectPresentation\icons\PNG\256\248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8754" y="19227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95" descr="C:\Users\pankratov.in\YandexDisk\!NTI\DOCS\ProjectPresentation\icons\PNG\256\249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245" y="275556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96" descr="C:\Users\pankratov.in\YandexDisk\!NTI\DOCS\ProjectPresentation\icons\PNG\256\250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190" y="186311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97" descr="C:\Users\pankratov.in\YandexDisk\!NTI\DOCS\ProjectPresentation\icons\PNG\256\251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4302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98" descr="C:\Users\pankratov.in\YandexDisk\!NTI\DOCS\ProjectPresentation\icons\PNG\256\252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8835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99" descr="C:\Users\pankratov.in\YandexDisk\!NTI\DOCS\ProjectPresentation\icons\PNG\256\253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0600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100" descr="C:\Users\pankratov.in\YandexDisk\!NTI\DOCS\ProjectPresentation\icons\PNG\256\254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4254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101" descr="C:\Users\pankratov.in\YandexDisk\!NTI\DOCS\ProjectPresentation\icons\PNG\256\255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4485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102" descr="C:\Users\pankratov.in\YandexDisk\!NTI\DOCS\ProjectPresentation\icons\PNG\256\256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9569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103" descr="C:\Users\pankratov.in\YandexDisk\!NTI\DOCS\ProjectPresentation\icons\PNG\256\257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3279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104" descr="C:\Users\pankratov.in\YandexDisk\!NTI\DOCS\ProjectPresentation\icons\PNG\256\258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5044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105" descr="C:\Users\pankratov.in\YandexDisk\!NTI\DOCS\ProjectPresentation\icons\PNG\256\259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8754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06" descr="C:\Users\pankratov.in\YandexDisk\!NTI\DOCS\ProjectPresentation\icons\PNG\256\360.pn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7303" y="19227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07" descr="C:\Users\pankratov.in\YandexDisk\!NTI\DOCS\ProjectPresentation\icons\PNG\256\361.pn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7303" y="54852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08" descr="C:\Users\pankratov.in\YandexDisk\!NTI\DOCS\ProjectPresentation\icons\PNG\256\362.pn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8835" y="54852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209" descr="C:\Users\pankratov.in\YandexDisk\!NTI\DOCS\ProjectPresentation\icons\PNG\256\363.png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2545" y="54852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10" descr="C:\Users\pankratov.in\YandexDisk\!NTI\DOCS\ProjectPresentation\icons\PNG\256\364.png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4310" y="54852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211" descr="C:\Users\pankratov.in\YandexDisk\!NTI\DOCS\ProjectPresentation\icons\PNG\256\365.png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8571" y="54852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212" descr="C:\Users\pankratov.in\YandexDisk\!NTI\DOCS\ProjectPresentation\icons\PNG\256\366.png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2281" y="54852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213" descr="C:\Users\pankratov.in\YandexDisk\!NTI\DOCS\ProjectPresentation\icons\PNG\256\367.png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9937" y="54852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14" descr="C:\Users\pankratov.in\YandexDisk\!NTI\DOCS\ProjectPresentation\icons\PNG\256\368.png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5615" y="54852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215" descr="C:\Users\pankratov.in\YandexDisk\!NTI\DOCS\ProjectPresentation\icons\PNG\256\369.png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6480" y="54852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216" descr="C:\Users\pankratov.in\YandexDisk\!NTI\DOCS\ProjectPresentation\icons\PNG\256\370.png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338" y="54852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217" descr="C:\Users\pankratov.in\YandexDisk\!NTI\DOCS\ProjectPresentation\icons\PNG\256\371.png"/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7303" y="453077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218" descr="C:\Users\pankratov.in\YandexDisk\!NTI\DOCS\ProjectPresentation\icons\PNG\256\372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8835" y="457167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219" descr="C:\Users\pankratov.in\YandexDisk\!NTI\DOCS\ProjectPresentation\icons\PNG\256\373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9522" y="453616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220" descr="C:\Users\pankratov.in\YandexDisk\!NTI\DOCS\ProjectPresentation\icons\PNG\256\374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3232" y="457167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221" descr="C:\Users\pankratov.in\YandexDisk\!NTI\DOCS\ProjectPresentation\icons\PNG\256\375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8571" y="45708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222" descr="C:\Users\pankratov.in\YandexDisk\!NTI\DOCS\ProjectPresentation\icons\PNG\256\376.png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2414" y="454886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223" descr="C:\Users\pankratov.in\YandexDisk\!NTI\DOCS\ProjectPresentation\icons\PNG\256\377.png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1905" y="45708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224" descr="C:\Users\pankratov.in\YandexDisk\!NTI\DOCS\ProjectPresentation\icons\PNG\256\378.png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2463" y="45708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225" descr="C:\Users\pankratov.in\YandexDisk\!NTI\DOCS\ProjectPresentation\icons\PNG\256\379.png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6480" y="45708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226" descr="C:\Users\pankratov.in\YandexDisk\!NTI\DOCS\ProjectPresentation\icons\PNG\256\380.png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45708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227" descr="C:\Users\pankratov.in\YandexDisk\!NTI\DOCS\ProjectPresentation\icons\PNG\256\381.png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7303" y="361124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228" descr="C:\Users\pankratov.in\YandexDisk\!NTI\DOCS\ProjectPresentation\icons\PNG\256\382.png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6890" y="361124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229" descr="C:\Users\pankratov.in\YandexDisk\!NTI\DOCS\ProjectPresentation\icons\PNG\256\383.png"/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9381" y="364650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230" descr="C:\Users\pankratov.in\YandexDisk\!NTI\DOCS\ProjectPresentation\icons\PNG\256\384.png"/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8461" y="364650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231" descr="C:\Users\pankratov.in\YandexDisk\!NTI\DOCS\ProjectPresentation\icons\PNG\256\385.png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6019" y="364457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232" descr="C:\Users\pankratov.in\YandexDisk\!NTI\DOCS\ProjectPresentation\icons\PNG\256\386.png"/>
          <p:cNvPicPr>
            <a:picLocks noChangeAspect="1" noChangeArrowheads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8195" y="36417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233" descr="C:\Users\pankratov.in\YandexDisk\!NTI\DOCS\ProjectPresentation\icons\PNG\256\387.png"/>
          <p:cNvPicPr>
            <a:picLocks noChangeAspect="1" noChangeArrowheads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8753" y="364457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234" descr="C:\Users\pankratov.in\YandexDisk\!NTI\DOCS\ProjectPresentation\icons\PNG\256\388.png"/>
          <p:cNvPicPr>
            <a:picLocks noChangeAspect="1" noChangeArrowheads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6989" y="36437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235" descr="C:\Users\pankratov.in\YandexDisk\!NTI\DOCS\ProjectPresentation\icons\PNG\256\389.png"/>
          <p:cNvPicPr>
            <a:picLocks noChangeAspect="1" noChangeArrowheads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4439" y="36417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236" descr="C:\Users\pankratov.in\YandexDisk\!NTI\DOCS\ProjectPresentation\icons\PNG\256\390.png"/>
          <p:cNvPicPr>
            <a:picLocks noChangeAspect="1" noChangeArrowheads="1"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245" y="36417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237" descr="C:\Users\pankratov.in\YandexDisk\!NTI\DOCS\ProjectPresentation\icons\PNG\256\391.png"/>
          <p:cNvPicPr>
            <a:picLocks noChangeAspect="1" noChangeArrowheads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4302" y="278569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238" descr="C:\Users\pankratov.in\YandexDisk\!NTI\DOCS\ProjectPresentation\icons\PNG\256\392.png"/>
          <p:cNvPicPr>
            <a:picLocks noChangeAspect="1" noChangeArrowheads="1"/>
          </p:cNvPicPr>
          <p:nvPr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6890" y="2778378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239" descr="C:\Users\pankratov.in\YandexDisk\!NTI\DOCS\ProjectPresentation\icons\PNG\256\393.png"/>
          <p:cNvPicPr>
            <a:picLocks noChangeAspect="1" noChangeArrowheads="1"/>
          </p:cNvPicPr>
          <p:nvPr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4751" y="278569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240" descr="C:\Users\pankratov.in\YandexDisk\!NTI\DOCS\ProjectPresentation\icons\PNG\256\394.png"/>
          <p:cNvPicPr>
            <a:picLocks noChangeAspect="1" noChangeArrowheads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2309" y="278569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Picture 241" descr="C:\Users\pankratov.in\YandexDisk\!NTI\DOCS\ProjectPresentation\icons\PNG\256\395.png"/>
          <p:cNvPicPr>
            <a:picLocks noChangeAspect="1" noChangeArrowheads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9855" y="2778378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242" descr="C:\Users\pankratov.in\YandexDisk\!NTI\DOCS\ProjectPresentation\icons\PNG\256\396.png"/>
          <p:cNvPicPr>
            <a:picLocks noChangeAspect="1" noChangeArrowheads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5043" y="276375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243" descr="C:\Users\pankratov.in\YandexDisk\!NTI\DOCS\ProjectPresentation\icons\PNG\256\397.png"/>
          <p:cNvPicPr>
            <a:picLocks noChangeAspect="1" noChangeArrowheads="1"/>
          </p:cNvPicPr>
          <p:nvPr/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7909" y="276375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244" descr="C:\Users\pankratov.in\YandexDisk\!NTI\DOCS\ProjectPresentation\icons\PNG\256\398.png"/>
          <p:cNvPicPr>
            <a:picLocks noChangeAspect="1" noChangeArrowheads="1"/>
          </p:cNvPicPr>
          <p:nvPr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2359" y="276375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245" descr="C:\Users\pankratov.in\YandexDisk\!NTI\DOCS\ProjectPresentation\icons\PNG\256\399.png"/>
          <p:cNvPicPr>
            <a:picLocks noChangeAspect="1" noChangeArrowheads="1"/>
          </p:cNvPicPr>
          <p:nvPr/>
        </p:nvPicPr>
        <p:blipFill>
          <a:blip r:embed="rId6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9494" y="276375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Набор иконок для визуализации моделей</a:t>
            </a:r>
            <a:endParaRPr lang="ru-RU" b="1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t>09.11.2023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1220" y="6426078"/>
            <a:ext cx="2228850" cy="365125"/>
          </a:xfrm>
        </p:spPr>
        <p:txBody>
          <a:bodyPr/>
          <a:lstStyle/>
          <a:p>
            <a:fld id="{3EF660E9-E116-4F2D-91B7-27BAC0D3A970}" type="slidenum">
              <a:rPr lang="ru-RU" smtClean="0"/>
              <a:t>14</a:t>
            </a:fld>
            <a:endParaRPr lang="ru-RU" dirty="0"/>
          </a:p>
        </p:txBody>
      </p:sp>
      <p:pic>
        <p:nvPicPr>
          <p:cNvPr id="72" name="Picture 166" descr="C:\Users\pankratov.in\YandexDisk\!NTI\DOCS\ProjectPresentation\icons\PNG\256\40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9257" y="354307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" name="Picture 167" descr="C:\Users\pankratov.in\YandexDisk\!NTI\DOCS\ProjectPresentation\icons\PNG\256\321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477" y="9606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168" descr="C:\Users\pankratov.in\YandexDisk\!NTI\DOCS\ProjectPresentation\icons\PNG\256\322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4782" y="360022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Picture 169" descr="C:\Users\pankratov.in\YandexDisk\!NTI\DOCS\ProjectPresentation\icons\PNG\256\323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1817" y="360022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170" descr="C:\Users\pankratov.in\YandexDisk\!NTI\DOCS\ProjectPresentation\icons\PNG\256\324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5527" y="352402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" name="Picture 171" descr="C:\Users\pankratov.in\YandexDisk\!NTI\DOCS\ProjectPresentation\icons\PNG\256\325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9702" y="358117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172" descr="C:\Users\pankratov.in\YandexDisk\!NTI\DOCS\ProjectPresentation\icons\PNG\256\326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6239" y="354307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173" descr="C:\Users\pankratov.in\YandexDisk\!NTI\DOCS\ProjectPresentation\icons\PNG\256\327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8127" y="354307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174" descr="C:\Users\pankratov.in\YandexDisk\!NTI\DOCS\ProjectPresentation\icons\PNG\256\328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2619" y="354307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Picture 175" descr="C:\Users\pankratov.in\YandexDisk\!NTI\DOCS\ProjectPresentation\icons\PNG\256\329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4789" y="354307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Picture 176" descr="C:\Users\pankratov.in\YandexDisk\!NTI\DOCS\ProjectPresentation\icons\PNG\256\330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477" y="354307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177" descr="C:\Users\pankratov.in\YandexDisk\!NTI\DOCS\ProjectPresentation\icons\PNG\256\331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5179" y="268336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178" descr="C:\Users\pankratov.in\YandexDisk\!NTI\DOCS\ProjectPresentation\icons\PNG\256\332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1739" y="268336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5" name="Picture 179" descr="C:\Users\pankratov.in\YandexDisk\!NTI\DOCS\ProjectPresentation\icons\PNG\256\333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8299" y="267383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6" name="Picture 180" descr="C:\Users\pankratov.in\YandexDisk\!NTI\DOCS\ProjectPresentation\icons\PNG\256\334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8752" y="268336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7" name="Picture 181" descr="C:\Users\pankratov.in\YandexDisk\!NTI\DOCS\ProjectPresentation\icons\PNG\256\335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4827" y="268336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" name="Picture 182" descr="C:\Users\pankratov.in\YandexDisk\!NTI\DOCS\ProjectPresentation\icons\PNG\256\336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0899" y="264526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9" name="Picture 183" descr="C:\Users\pankratov.in\YandexDisk\!NTI\DOCS\ProjectPresentation\icons\PNG\256\337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0797" y="264526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0" name="Picture 184" descr="C:\Users\pankratov.in\YandexDisk\!NTI\DOCS\ProjectPresentation\icons\PNG\256\338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7832" y="264526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1" name="Picture 185" descr="C:\Users\pankratov.in\YandexDisk\!NTI\DOCS\ProjectPresentation\icons\PNG\256\339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4392" y="264526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" name="Picture 186" descr="C:\Users\pankratov.in\YandexDisk\!NTI\DOCS\ProjectPresentation\icons\PNG\256\340.pn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477" y="264526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3" name="Picture 187" descr="C:\Users\pankratov.in\YandexDisk\!NTI\DOCS\ProjectPresentation\icons\PNG\256\341.pn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4782" y="181086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4" name="Picture 188" descr="C:\Users\pankratov.in\YandexDisk\!NTI\DOCS\ProjectPresentation\icons\PNG\256\342.pn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0867" y="182039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5" name="Picture 189" descr="C:\Users\pankratov.in\YandexDisk\!NTI\DOCS\ProjectPresentation\icons\PNG\256\343.png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5527" y="182039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6" name="Picture 190" descr="C:\Users\pankratov.in\YandexDisk\!NTI\DOCS\ProjectPresentation\icons\PNG\256\344.png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8752" y="182039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" name="Picture 191" descr="C:\Users\pankratov.in\YandexDisk\!NTI\DOCS\ProjectPresentation\icons\PNG\256\345.png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4827" y="182039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8" name="Picture 192" descr="C:\Users\pankratov.in\YandexDisk\!NTI\DOCS\ProjectPresentation\icons\PNG\256\346.png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8127" y="181411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9" name="Picture 193" descr="C:\Users\pankratov.in\YandexDisk\!NTI\DOCS\ProjectPresentation\icons\PNG\256\347.png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0797" y="182039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0" name="Picture 194" descr="C:\Users\pankratov.in\YandexDisk\!NTI\DOCS\ProjectPresentation\icons\PNG\256\348.png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7832" y="182039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1" name="Picture 195" descr="C:\Users\pankratov.in\YandexDisk\!NTI\DOCS\ProjectPresentation\icons\PNG\256\349.png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2967" y="179506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" name="Picture 196" descr="C:\Users\pankratov.in\YandexDisk\!NTI\DOCS\ProjectPresentation\icons\PNG\256\350.png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477" y="181411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" name="Picture 197" descr="C:\Users\pankratov.in\YandexDisk\!NTI\DOCS\ProjectPresentation\icons\PNG\256\351.png"/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5732" y="9606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" name="Picture 198" descr="C:\Users\pankratov.in\YandexDisk\!NTI\DOCS\ProjectPresentation\icons\PNG\256\352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0867" y="9606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" name="Picture 199" descr="C:\Users\pankratov.in\YandexDisk\!NTI\DOCS\ProjectPresentation\icons\PNG\256\353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5527" y="9606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" name="Picture 200" descr="C:\Users\pankratov.in\YandexDisk\!NTI\DOCS\ProjectPresentation\icons\PNG\256\354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8752" y="9606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" name="Picture 201" descr="C:\Users\pankratov.in\YandexDisk\!NTI\DOCS\ProjectPresentation\icons\PNG\256\355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4827" y="9606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" name="Picture 202" descr="C:\Users\pankratov.in\YandexDisk\!NTI\DOCS\ProjectPresentation\icons\PNG\256\356.png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8127" y="9606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" name="Picture 203" descr="C:\Users\pankratov.in\YandexDisk\!NTI\DOCS\ProjectPresentation\icons\PNG\256\357.png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0797" y="9606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" name="Picture 204" descr="C:\Users\pankratov.in\YandexDisk\!NTI\DOCS\ProjectPresentation\icons\PNG\256\358.png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7832" y="9606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1" name="Picture 205" descr="C:\Users\pankratov.in\YandexDisk\!NTI\DOCS\ProjectPresentation\icons\PNG\256\359.png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4392" y="9606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" name="Picture 62" descr="C:\Users\pankratov.in\YandexDisk\!NTI\DOCS\ProjectPresentation\icons\PNG\256\460.png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477" y="44638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3" name="Picture 63" descr="C:\Users\pankratov.in\YandexDisk\!NTI\DOCS\ProjectPresentation\icons\PNG\256\461.png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0501" y="537014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4" name="Picture 64" descr="C:\Users\pankratov.in\YandexDisk\!NTI\DOCS\ProjectPresentation\icons\PNG\256\462.png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9442" y="537014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5" name="Picture 65" descr="C:\Users\pankratov.in\YandexDisk\!NTI\DOCS\ProjectPresentation\icons\PNG\256\463.png"/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5527" y="537014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6" name="Picture 66" descr="C:\Users\pankratov.in\YandexDisk\!NTI\DOCS\ProjectPresentation\icons\PNG\256\464.png"/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4931" y="537014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7" name="Picture 67" descr="C:\Users\pankratov.in\YandexDisk\!NTI\DOCS\ProjectPresentation\icons\PNG\256\465.png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4827" y="537014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8" name="Picture 68" descr="C:\Users\pankratov.in\YandexDisk\!NTI\DOCS\ProjectPresentation\icons\PNG\256\466.png"/>
          <p:cNvPicPr>
            <a:picLocks noChangeAspect="1" noChangeArrowheads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2649" y="537014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9" name="Picture 69" descr="C:\Users\pankratov.in\YandexDisk\!NTI\DOCS\ProjectPresentation\icons\PNG\256\467.png"/>
          <p:cNvPicPr>
            <a:picLocks noChangeAspect="1" noChangeArrowheads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1663" y="53341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0" name="Picture 70" descr="C:\Users\pankratov.in\YandexDisk\!NTI\DOCS\ProjectPresentation\icons\PNG\256\468.png"/>
          <p:cNvPicPr>
            <a:picLocks noChangeAspect="1" noChangeArrowheads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5373" y="53341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1" name="Picture 71" descr="C:\Users\pankratov.in\YandexDisk\!NTI\DOCS\ProjectPresentation\icons\PNG\256\469.png"/>
          <p:cNvPicPr>
            <a:picLocks noChangeAspect="1" noChangeArrowheads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1542" y="53341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" name="Picture 72" descr="C:\Users\pankratov.in\YandexDisk\!NTI\DOCS\ProjectPresentation\icons\PNG\256\470.png"/>
          <p:cNvPicPr>
            <a:picLocks noChangeAspect="1" noChangeArrowheads="1"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477" y="53341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3" name="Picture 73" descr="C:\Users\pankratov.in\YandexDisk\!NTI\DOCS\ProjectPresentation\icons\PNG\256\471.png"/>
          <p:cNvPicPr>
            <a:picLocks noChangeAspect="1" noChangeArrowheads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5179" y="44638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4" name="Picture 74" descr="C:\Users\pankratov.in\YandexDisk\!NTI\DOCS\ProjectPresentation\icons\PNG\256\472.png"/>
          <p:cNvPicPr>
            <a:picLocks noChangeAspect="1" noChangeArrowheads="1"/>
          </p:cNvPicPr>
          <p:nvPr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9442" y="44638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5" name="Picture 75" descr="C:\Users\pankratov.in\YandexDisk\!NTI\DOCS\ProjectPresentation\icons\PNG\256\473.png"/>
          <p:cNvPicPr>
            <a:picLocks noChangeAspect="1" noChangeArrowheads="1"/>
          </p:cNvPicPr>
          <p:nvPr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8299" y="44638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6" name="Picture 76" descr="C:\Users\pankratov.in\YandexDisk\!NTI\DOCS\ProjectPresentation\icons\PNG\256\474.png"/>
          <p:cNvPicPr>
            <a:picLocks noChangeAspect="1" noChangeArrowheads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9217" y="44638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7" name="Picture 77" descr="C:\Users\pankratov.in\YandexDisk\!NTI\DOCS\ProjectPresentation\icons\PNG\256\475.png"/>
          <p:cNvPicPr>
            <a:picLocks noChangeAspect="1" noChangeArrowheads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8939" y="44638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8" name="Picture 78" descr="C:\Users\pankratov.in\YandexDisk\!NTI\DOCS\ProjectPresentation\icons\PNG\256\476.png"/>
          <p:cNvPicPr>
            <a:picLocks noChangeAspect="1" noChangeArrowheads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2649" y="44638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9" name="Picture 79" descr="C:\Users\pankratov.in\YandexDisk\!NTI\DOCS\ProjectPresentation\icons\PNG\256\477.png"/>
          <p:cNvPicPr>
            <a:picLocks noChangeAspect="1" noChangeArrowheads="1"/>
          </p:cNvPicPr>
          <p:nvPr/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7141" y="44638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0" name="Picture 80" descr="C:\Users\pankratov.in\YandexDisk\!NTI\DOCS\ProjectPresentation\icons\PNG\256\478.png"/>
          <p:cNvPicPr>
            <a:picLocks noChangeAspect="1" noChangeArrowheads="1"/>
          </p:cNvPicPr>
          <p:nvPr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0929" y="44638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1" name="Picture 81" descr="C:\Users\pankratov.in\YandexDisk\!NTI\DOCS\ProjectPresentation\icons\PNG\256\479.png"/>
          <p:cNvPicPr>
            <a:picLocks noChangeAspect="1" noChangeArrowheads="1"/>
          </p:cNvPicPr>
          <p:nvPr/>
        </p:nvPicPr>
        <p:blipFill>
          <a:blip r:embed="rId6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1542" y="44638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Набор иконок для визуализации моделей</a:t>
            </a:r>
            <a:endParaRPr lang="ru-RU" b="1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t>09.11.2023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1220" y="6426078"/>
            <a:ext cx="2228850" cy="365125"/>
          </a:xfrm>
        </p:spPr>
        <p:txBody>
          <a:bodyPr/>
          <a:lstStyle/>
          <a:p>
            <a:fld id="{3EF660E9-E116-4F2D-91B7-27BAC0D3A970}" type="slidenum">
              <a:rPr lang="ru-RU" smtClean="0"/>
              <a:t>15</a:t>
            </a:fld>
            <a:endParaRPr lang="ru-RU" dirty="0"/>
          </a:p>
        </p:txBody>
      </p:sp>
      <p:pic>
        <p:nvPicPr>
          <p:cNvPr id="6" name="Picture 82" descr="C:\Users\pankratov.in\YandexDisk\!NTI\DOCS\ProjectPresentation\icons\PNG\256\48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667" y="9510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83" descr="C:\Users\pankratov.in\YandexDisk\!NTI\DOCS\ProjectPresentation\icons\PNG\256\482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5171" y="455226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4" descr="C:\Users\pankratov.in\YandexDisk\!NTI\DOCS\ProjectPresentation\icons\PNG\256\483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6027" y="454932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5" descr="C:\Users\pankratov.in\YandexDisk\!NTI\DOCS\ProjectPresentation\icons\PNG\256\484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9737" y="454932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86" descr="C:\Users\pankratov.in\YandexDisk\!NTI\DOCS\ProjectPresentation\icons\PNG\256\485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3447" y="454932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87" descr="C:\Users\pankratov.in\YandexDisk\!NTI\DOCS\ProjectPresentation\icons\PNG\256\486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817" y="454932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88" descr="C:\Users\pankratov.in\YandexDisk\!NTI\DOCS\ProjectPresentation\icons\PNG\256\487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1887" y="36230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89" descr="C:\Users\pankratov.in\YandexDisk\!NTI\DOCS\ProjectPresentation\icons\PNG\256\488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117" y="356253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90" descr="C:\Users\pankratov.in\YandexDisk\!NTI\DOCS\ProjectPresentation\icons\PNG\256\489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8827" y="357522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91" descr="C:\Users\pankratov.in\YandexDisk\!NTI\DOCS\ProjectPresentation\icons\PNG\256\490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4437" y="357522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92" descr="C:\Users\pankratov.in\YandexDisk\!NTI\DOCS\ProjectPresentation\icons\PNG\256\491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7667" y="36230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93" descr="C:\Users\pankratov.in\YandexDisk\!NTI\DOCS\ProjectPresentation\icons\PNG\256\492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5171" y="36230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94" descr="C:\Users\pankratov.in\YandexDisk\!NTI\DOCS\ProjectPresentation\icons\PNG\256\493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4127" y="36230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95" descr="C:\Users\pankratov.in\YandexDisk\!NTI\DOCS\ProjectPresentation\icons\PNG\256\494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7357" y="36230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96" descr="C:\Users\pankratov.in\YandexDisk\!NTI\DOCS\ProjectPresentation\icons\PNG\256\495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5739" y="36230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97" descr="C:\Users\pankratov.in\YandexDisk\!NTI\DOCS\ProjectPresentation\icons\PNG\256\496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449" y="36230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98" descr="C:\Users\pankratov.in\YandexDisk\!NTI\DOCS\ProjectPresentation\icons\PNG\256\497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1887" y="26959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99" descr="C:\Users\pankratov.in\YandexDisk\!NTI\DOCS\ProjectPresentation\icons\PNG\256\498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117" y="26959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100" descr="C:\Users\pankratov.in\YandexDisk\!NTI\DOCS\ProjectPresentation\icons\PNG\256\499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0727" y="26959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101" descr="C:\Users\pankratov.in\YandexDisk\!NTI\DOCS\ProjectPresentation\icons\PNG\256\500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4437" y="26959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102" descr="C:\Users\pankratov.in\YandexDisk\!NTI\DOCS\ProjectPresentation\icons\PNG\256\501.pn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7667" y="26959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103" descr="C:\Users\pankratov.in\YandexDisk\!NTI\DOCS\ProjectPresentation\icons\PNG\256\502.pn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417" y="26959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104" descr="C:\Users\pankratov.in\YandexDisk\!NTI\DOCS\ProjectPresentation\icons\PNG\256\503.pn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6027" y="26959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105" descr="C:\Users\pankratov.in\YandexDisk\!NTI\DOCS\ProjectPresentation\icons\PNG\256\504.png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7357" y="26959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106" descr="C:\Users\pankratov.in\YandexDisk\!NTI\DOCS\ProjectPresentation\icons\PNG\256\505.png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0107" y="26959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107" descr="C:\Users\pankratov.in\YandexDisk\!NTI\DOCS\ProjectPresentation\icons\PNG\256\506.png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667" y="26959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108" descr="C:\Users\pankratov.in\YandexDisk\!NTI\DOCS\ProjectPresentation\icons\PNG\256\507.png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1887" y="181206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109" descr="C:\Users\pankratov.in\YandexDisk\!NTI\DOCS\ProjectPresentation\icons\PNG\256\508.png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117" y="181206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110" descr="C:\Users\pankratov.in\YandexDisk\!NTI\DOCS\ProjectPresentation\icons\PNG\256\509.png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0727" y="181206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111" descr="C:\Users\pankratov.in\YandexDisk\!NTI\DOCS\ProjectPresentation\icons\PNG\256\510.png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3957" y="17629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112" descr="C:\Users\pankratov.in\YandexDisk\!NTI\DOCS\ProjectPresentation\icons\PNG\256\511.png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7187" y="181206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113" descr="C:\Users\pankratov.in\YandexDisk\!NTI\DOCS\ProjectPresentation\icons\PNG\256\512.png"/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417" y="181206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114" descr="C:\Users\pankratov.in\YandexDisk\!NTI\DOCS\ProjectPresentation\icons\PNG\256\513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3647" y="181206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115" descr="C:\Users\pankratov.in\YandexDisk\!NTI\DOCS\ProjectPresentation\icons\PNG\256\514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9737" y="181206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116" descr="C:\Users\pankratov.in\YandexDisk\!NTI\DOCS\ProjectPresentation\icons\PNG\256\515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0107" y="181206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117" descr="C:\Users\pankratov.in\YandexDisk\!NTI\DOCS\ProjectPresentation\icons\PNG\256\516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667" y="181206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118" descr="C:\Users\pankratov.in\YandexDisk\!NTI\DOCS\ProjectPresentation\icons\PNG\256\517.png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1887" y="9510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119" descr="C:\Users\pankratov.in\YandexDisk\!NTI\DOCS\ProjectPresentation\icons\PNG\256\518.png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117" y="9510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120" descr="C:\Users\pankratov.in\YandexDisk\!NTI\DOCS\ProjectPresentation\icons\PNG\256\519.png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0727" y="9510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121" descr="C:\Users\pankratov.in\YandexDisk\!NTI\DOCS\ProjectPresentation\icons\PNG\256\520.png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3957" y="9510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122" descr="C:\Users\pankratov.in\YandexDisk\!NTI\DOCS\ProjectPresentation\icons\PNG\256\521.png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7187" y="9510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123" descr="C:\Users\pankratov.in\YandexDisk\!NTI\DOCS\ProjectPresentation\icons\PNG\256\522.png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417" y="9510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124" descr="C:\Users\pankratov.in\YandexDisk\!NTI\DOCS\ProjectPresentation\icons\PNG\256\523.png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3647" y="9510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125" descr="C:\Users\pankratov.in\YandexDisk\!NTI\DOCS\ProjectPresentation\icons\PNG\256\524.png"/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9737" y="9510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126" descr="C:\Users\pankratov.in\YandexDisk\!NTI\DOCS\ProjectPresentation\icons\PNG\256\525.png"/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0107" y="9510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47" descr="C:\Users\pankratov.in\YandexDisk\!NTI\DOCS\ProjectPresentation\icons\PNG\256\445.png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5369" y="455226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48" descr="C:\Users\pankratov.in\YandexDisk\!NTI\DOCS\ProjectPresentation\icons\PNG\256\446.png"/>
          <p:cNvPicPr>
            <a:picLocks noChangeAspect="1" noChangeArrowheads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7353" y="537853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49" descr="C:\Users\pankratov.in\YandexDisk\!NTI\DOCS\ProjectPresentation\icons\PNG\256\447.png"/>
          <p:cNvPicPr>
            <a:picLocks noChangeAspect="1" noChangeArrowheads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1063" y="540357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50" descr="C:\Users\pankratov.in\YandexDisk\!NTI\DOCS\ProjectPresentation\icons\PNG\256\448.png"/>
          <p:cNvPicPr>
            <a:picLocks noChangeAspect="1" noChangeArrowheads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4773" y="540357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51" descr="C:\Users\pankratov.in\YandexDisk\!NTI\DOCS\ProjectPresentation\icons\PNG\256\449.png"/>
          <p:cNvPicPr>
            <a:picLocks noChangeAspect="1" noChangeArrowheads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6269" y="540357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52" descr="C:\Users\pankratov.in\YandexDisk\!NTI\DOCS\ProjectPresentation\icons\PNG\256\450.png"/>
          <p:cNvPicPr>
            <a:picLocks noChangeAspect="1" noChangeArrowheads="1"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4579" y="539382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53" descr="C:\Users\pankratov.in\YandexDisk\!NTI\DOCS\ProjectPresentation\icons\PNG\256\451.png"/>
          <p:cNvPicPr>
            <a:picLocks noChangeAspect="1" noChangeArrowheads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0897" y="539382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54" descr="C:\Users\pankratov.in\YandexDisk\!NTI\DOCS\ProjectPresentation\icons\PNG\256\452.png"/>
          <p:cNvPicPr>
            <a:picLocks noChangeAspect="1" noChangeArrowheads="1"/>
          </p:cNvPicPr>
          <p:nvPr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4127" y="540357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55" descr="C:\Users\pankratov.in\YandexDisk\!NTI\DOCS\ProjectPresentation\icons\PNG\256\453.png"/>
          <p:cNvPicPr>
            <a:picLocks noChangeAspect="1" noChangeArrowheads="1"/>
          </p:cNvPicPr>
          <p:nvPr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6551" y="539382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56" descr="C:\Users\pankratov.in\YandexDisk\!NTI\DOCS\ProjectPresentation\icons\PNG\256\454.png"/>
          <p:cNvPicPr>
            <a:picLocks noChangeAspect="1" noChangeArrowheads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6534" y="539382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57" descr="C:\Users\pankratov.in\YandexDisk\!NTI\DOCS\ProjectPresentation\icons\PNG\256\455.png"/>
          <p:cNvPicPr>
            <a:picLocks noChangeAspect="1" noChangeArrowheads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971" y="539382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58" descr="C:\Users\pankratov.in\YandexDisk\!NTI\DOCS\ProjectPresentation\icons\PNG\256\456.png"/>
          <p:cNvPicPr>
            <a:picLocks noChangeAspect="1" noChangeArrowheads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1407" y="455226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59" descr="C:\Users\pankratov.in\YandexDisk\!NTI\DOCS\ProjectPresentation\icons\PNG\256\457.png"/>
          <p:cNvPicPr>
            <a:picLocks noChangeAspect="1" noChangeArrowheads="1"/>
          </p:cNvPicPr>
          <p:nvPr/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1063" y="455226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0" descr="C:\Users\pankratov.in\YandexDisk\!NTI\DOCS\ProjectPresentation\icons\PNG\256\458.png"/>
          <p:cNvPicPr>
            <a:picLocks noChangeAspect="1" noChangeArrowheads="1"/>
          </p:cNvPicPr>
          <p:nvPr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4773" y="455226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61" descr="C:\Users\pankratov.in\YandexDisk\!NTI\DOCS\ProjectPresentation\icons\PNG\256\459.png"/>
          <p:cNvPicPr>
            <a:picLocks noChangeAspect="1" noChangeArrowheads="1"/>
          </p:cNvPicPr>
          <p:nvPr/>
        </p:nvPicPr>
        <p:blipFill>
          <a:blip r:embed="rId6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6269" y="455226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Набор иконок для визуализации моделей</a:t>
            </a:r>
            <a:endParaRPr lang="ru-RU" b="1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t>09.11.2023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1220" y="6426078"/>
            <a:ext cx="2228850" cy="365125"/>
          </a:xfrm>
        </p:spPr>
        <p:txBody>
          <a:bodyPr/>
          <a:lstStyle/>
          <a:p>
            <a:fld id="{3EF660E9-E116-4F2D-91B7-27BAC0D3A970}" type="slidenum">
              <a:rPr lang="ru-RU" smtClean="0"/>
              <a:t>16</a:t>
            </a:fld>
            <a:endParaRPr lang="ru-RU" dirty="0"/>
          </a:p>
        </p:txBody>
      </p:sp>
      <p:pic>
        <p:nvPicPr>
          <p:cNvPr id="6" name="Picture 106" descr="C:\Users\pankratov.in\YandexDisk\!NTI\DOCS\ProjectPresentation\icons\PNG\256\26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505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07" descr="C:\Users\pankratov.in\YandexDisk\!NTI\DOCS\ProjectPresentation\icons\PNG\256\261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2279" y="55435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08" descr="C:\Users\pankratov.in\YandexDisk\!NTI\DOCS\ProjectPresentation\icons\PNG\256\262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7801" y="552803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09" descr="C:\Users\pankratov.in\YandexDisk\!NTI\DOCS\ProjectPresentation\icons\PNG\256\263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0383" y="549877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10" descr="C:\Users\pankratov.in\YandexDisk\!NTI\DOCS\ProjectPresentation\icons\PNG\256\264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8983" y="54695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11" descr="C:\Users\pankratov.in\YandexDisk\!NTI\DOCS\ProjectPresentation\icons\PNG\256\265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8775" y="552803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2" descr="C:\Users\pankratov.in\YandexDisk\!NTI\DOCS\ProjectPresentation\icons\PNG\256\266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734" y="54695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13" descr="C:\Users\pankratov.in\YandexDisk\!NTI\DOCS\ProjectPresentation\icons\PNG\256\267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5799" y="54695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14" descr="C:\Users\pankratov.in\YandexDisk\!NTI\DOCS\ProjectPresentation\icons\PNG\256\268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7771" y="552803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15" descr="C:\Users\pankratov.in\YandexDisk\!NTI\DOCS\ProjectPresentation\icons\PNG\256\269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1481" y="54695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16" descr="C:\Users\pankratov.in\YandexDisk\!NTI\DOCS\ProjectPresentation\icons\PNG\256\270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505" y="54695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17" descr="C:\Users\pankratov.in\YandexDisk\!NTI\DOCS\ProjectPresentation\icons\PNG\256\271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2279" y="456242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18" descr="C:\Users\pankratov.in\YandexDisk\!NTI\DOCS\ProjectPresentation\icons\PNG\256\272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7801" y="456242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19" descr="C:\Users\pankratov.in\YandexDisk\!NTI\DOCS\ProjectPresentation\icons\PNG\256\273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0794" y="456974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20" descr="C:\Users\pankratov.in\YandexDisk\!NTI\DOCS\ProjectPresentation\icons\PNG\256\274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9835" y="456974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21" descr="C:\Users\pankratov.in\YandexDisk\!NTI\DOCS\ProjectPresentation\icons\PNG\256\275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9310" y="456242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22" descr="C:\Users\pankratov.in\YandexDisk\!NTI\DOCS\ProjectPresentation\icons\PNG\256\276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6103" y="456242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123" descr="C:\Users\pankratov.in\YandexDisk\!NTI\DOCS\ProjectPresentation\icons\PNG\256\277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1716" y="456974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124" descr="C:\Users\pankratov.in\YandexDisk\!NTI\DOCS\ProjectPresentation\icons\PNG\256\278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7771" y="456974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125" descr="C:\Users\pankratov.in\YandexDisk\!NTI\DOCS\ProjectPresentation\icons\PNG\256\279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9221" y="456974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126" descr="C:\Users\pankratov.in\YandexDisk\!NTI\DOCS\ProjectPresentation\icons\PNG\256\280.pn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505" y="456974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127" descr="C:\Users\pankratov.in\YandexDisk\!NTI\DOCS\ProjectPresentation\icons\PNG\256\281.pn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3019" y="368460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128" descr="C:\Users\pankratov.in\YandexDisk\!NTI\DOCS\ProjectPresentation\icons\PNG\256\282.pn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7801" y="368460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129" descr="C:\Users\pankratov.in\YandexDisk\!NTI\DOCS\ProjectPresentation\icons\PNG\256\283.png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0794" y="370009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130" descr="C:\Users\pankratov.in\YandexDisk\!NTI\DOCS\ProjectPresentation\icons\PNG\256\284.png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3795" y="188679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131" descr="C:\Users\pankratov.in\YandexDisk\!NTI\DOCS\ProjectPresentation\icons\PNG\256\285.png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9835" y="368460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132" descr="C:\Users\pankratov.in\YandexDisk\!NTI\DOCS\ProjectPresentation\icons\PNG\256\286.png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6227" y="368460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133" descr="C:\Users\pankratov.in\YandexDisk\!NTI\DOCS\ProjectPresentation\icons\PNG\256\287.png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5799" y="370009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134" descr="C:\Users\pankratov.in\YandexDisk\!NTI\DOCS\ProjectPresentation\icons\PNG\256\288.png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5426" y="368460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135" descr="C:\Users\pankratov.in\YandexDisk\!NTI\DOCS\ProjectPresentation\icons\PNG\256\289.png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1481" y="368460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136" descr="C:\Users\pankratov.in\YandexDisk\!NTI\DOCS\ProjectPresentation\icons\PNG\256\290.png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505" y="368460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137" descr="C:\Users\pankratov.in\YandexDisk\!NTI\DOCS\ProjectPresentation\icons\PNG\256\291.png"/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7649" y="277020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138" descr="C:\Users\pankratov.in\YandexDisk\!NTI\DOCS\ProjectPresentation\icons\PNG\256\292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7801" y="277020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139" descr="C:\Users\pankratov.in\YandexDisk\!NTI\DOCS\ProjectPresentation\icons\PNG\256\293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0794" y="277020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140" descr="C:\Users\pankratov.in\YandexDisk\!NTI\DOCS\ProjectPresentation\icons\PNG\256\294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8983" y="277020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141" descr="C:\Users\pankratov.in\YandexDisk\!NTI\DOCS\ProjectPresentation\icons\PNG\256\295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8775" y="277020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142" descr="C:\Users\pankratov.in\YandexDisk\!NTI\DOCS\ProjectPresentation\icons\PNG\256\296.png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6227" y="277020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143" descr="C:\Users\pankratov.in\YandexDisk\!NTI\DOCS\ProjectPresentation\icons\PNG\256\297.png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1716" y="277020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144" descr="C:\Users\pankratov.in\YandexDisk\!NTI\DOCS\ProjectPresentation\icons\PNG\256\298.png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5511" y="27418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145" descr="C:\Users\pankratov.in\YandexDisk\!NTI\DOCS\ProjectPresentation\icons\PNG\256\299.png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3795" y="277020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146" descr="C:\Users\pankratov.in\YandexDisk\!NTI\DOCS\ProjectPresentation\icons\PNG\256\300.png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505" y="277020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147" descr="C:\Users\pankratov.in\YandexDisk\!NTI\DOCS\ProjectPresentation\icons\PNG\256\301.png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3019" y="188679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148" descr="C:\Users\pankratov.in\YandexDisk\!NTI\DOCS\ProjectPresentation\icons\PNG\256\302.png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3911" y="189237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149" descr="C:\Users\pankratov.in\YandexDisk\!NTI\DOCS\ProjectPresentation\icons\PNG\256\303.png"/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3012" y="18639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150" descr="C:\Users\pankratov.in\YandexDisk\!NTI\DOCS\ProjectPresentation\icons\PNG\256\304.png"/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5189" y="185580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151" descr="C:\Users\pankratov.in\YandexDisk\!NTI\DOCS\ProjectPresentation\icons\PNG\256\305.png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9310" y="185666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152" descr="C:\Users\pankratov.in\YandexDisk\!NTI\DOCS\ProjectPresentation\icons\PNG\256\306.png"/>
          <p:cNvPicPr>
            <a:picLocks noChangeAspect="1" noChangeArrowheads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6227" y="184117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153" descr="C:\Users\pankratov.in\YandexDisk\!NTI\DOCS\ProjectPresentation\icons\PNG\256\307.png"/>
          <p:cNvPicPr>
            <a:picLocks noChangeAspect="1" noChangeArrowheads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7868" y="184117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154" descr="C:\Users\pankratov.in\YandexDisk\!NTI\DOCS\ProjectPresentation\icons\PNG\256\308.png"/>
          <p:cNvPicPr>
            <a:picLocks noChangeAspect="1" noChangeArrowheads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7771" y="180352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155" descr="C:\Users\pankratov.in\YandexDisk\!NTI\DOCS\ProjectPresentation\icons\PNG\256\309.png"/>
          <p:cNvPicPr>
            <a:picLocks noChangeAspect="1" noChangeArrowheads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9310" y="368460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156" descr="C:\Users\pankratov.in\YandexDisk\!NTI\DOCS\ProjectPresentation\icons\PNG\256\310.png"/>
          <p:cNvPicPr>
            <a:picLocks noChangeAspect="1" noChangeArrowheads="1"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505" y="185580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157" descr="C:\Users\pankratov.in\YandexDisk\!NTI\DOCS\ProjectPresentation\icons\PNG\256\311.png"/>
          <p:cNvPicPr>
            <a:picLocks noChangeAspect="1" noChangeArrowheads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7649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158" descr="C:\Users\pankratov.in\YandexDisk\!NTI\DOCS\ProjectPresentation\icons\PNG\256\312.png"/>
          <p:cNvPicPr>
            <a:picLocks noChangeAspect="1" noChangeArrowheads="1"/>
          </p:cNvPicPr>
          <p:nvPr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6673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159" descr="C:\Users\pankratov.in\YandexDisk\!NTI\DOCS\ProjectPresentation\icons\PNG\256\313.png"/>
          <p:cNvPicPr>
            <a:picLocks noChangeAspect="1" noChangeArrowheads="1"/>
          </p:cNvPicPr>
          <p:nvPr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957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160" descr="C:\Users\pankratov.in\YandexDisk\!NTI\DOCS\ProjectPresentation\icons\PNG\256\314.png"/>
          <p:cNvPicPr>
            <a:picLocks noChangeAspect="1" noChangeArrowheads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2504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161" descr="C:\Users\pankratov.in\YandexDisk\!NTI\DOCS\ProjectPresentation\icons\PNG\256\315.png"/>
          <p:cNvPicPr>
            <a:picLocks noChangeAspect="1" noChangeArrowheads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9310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162" descr="C:\Users\pankratov.in\YandexDisk\!NTI\DOCS\ProjectPresentation\icons\PNG\256\316.png"/>
          <p:cNvPicPr>
            <a:picLocks noChangeAspect="1" noChangeArrowheads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6227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163" descr="C:\Users\pankratov.in\YandexDisk\!NTI\DOCS\ProjectPresentation\icons\PNG\256\317.png"/>
          <p:cNvPicPr>
            <a:picLocks noChangeAspect="1" noChangeArrowheads="1"/>
          </p:cNvPicPr>
          <p:nvPr/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1716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164" descr="C:\Users\pankratov.in\YandexDisk\!NTI\DOCS\ProjectPresentation\icons\PNG\256\318.png"/>
          <p:cNvPicPr>
            <a:picLocks noChangeAspect="1" noChangeArrowheads="1"/>
          </p:cNvPicPr>
          <p:nvPr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7771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165" descr="C:\Users\pankratov.in\YandexDisk\!NTI\DOCS\ProjectPresentation\icons\PNG\256\319.png"/>
          <p:cNvPicPr>
            <a:picLocks noChangeAspect="1" noChangeArrowheads="1"/>
          </p:cNvPicPr>
          <p:nvPr/>
        </p:nvPicPr>
        <p:blipFill>
          <a:blip r:embed="rId6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9221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Набор иконок для визуализации моделей</a:t>
            </a:r>
            <a:endParaRPr lang="ru-RU" b="1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t>09.11.2023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1220" y="6426078"/>
            <a:ext cx="2228850" cy="365125"/>
          </a:xfrm>
        </p:spPr>
        <p:txBody>
          <a:bodyPr/>
          <a:lstStyle/>
          <a:p>
            <a:fld id="{3EF660E9-E116-4F2D-91B7-27BAC0D3A970}" type="slidenum">
              <a:rPr lang="ru-RU" smtClean="0"/>
              <a:t>17</a:t>
            </a:fld>
            <a:endParaRPr lang="ru-RU" dirty="0"/>
          </a:p>
        </p:txBody>
      </p:sp>
      <p:pic>
        <p:nvPicPr>
          <p:cNvPr id="6" name="Picture 2" descr="C:\Users\pankratov.in\YandexDisk\!NTI\DOCS\ProjectPresentation\icons\PNG\256\239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6453" y="190919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3" descr="C:\Users\pankratov.in\YandexDisk\!NTI\DOCS\ProjectPresentation\icons\PNG\256\240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553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C:\Users\pankratov.in\YandexDisk\!NTI\DOCS\ProjectPresentation\icons\PNG\256\16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7551" y="550786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5" descr="C:\Users\pankratov.in\YandexDisk\!NTI\DOCS\ProjectPresentation\icons\PNG\256\162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7299" y="549948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6" descr="C:\Users\pankratov.in\YandexDisk\!NTI\DOCS\ProjectPresentation\icons\PNG\256\163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3711" y="550786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7" descr="C:\Users\pankratov.in\YandexDisk\!NTI\DOCS\ProjectPresentation\icons\PNG\256\164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7421" y="550786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8" descr="C:\Users\pankratov.in\YandexDisk\!NTI\DOCS\ProjectPresentation\icons\PNG\256\165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0463" y="549948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9" descr="C:\Users\pankratov.in\YandexDisk\!NTI\DOCS\ProjectPresentation\icons\PNG\256\166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4163" y="549948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0" descr="C:\Users\pankratov.in\YandexDisk\!NTI\DOCS\ProjectPresentation\icons\PNG\256\167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5337" y="549948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1" descr="C:\Users\pankratov.in\YandexDisk\!NTI\DOCS\ProjectPresentation\icons\PNG\256\168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3463" y="549948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2" descr="C:\Users\pankratov.in\YandexDisk\!NTI\DOCS\ProjectPresentation\icons\PNG\256\169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9063" y="549948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3" descr="C:\Users\pankratov.in\YandexDisk\!NTI\DOCS\ProjectPresentation\icons\PNG\256\170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553" y="549948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4" descr="C:\Users\pankratov.in\YandexDisk\!NTI\DOCS\ProjectPresentation\icons\PNG\256\171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6453" y="46440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5" descr="C:\Users\pankratov.in\YandexDisk\!NTI\DOCS\ProjectPresentation\icons\PNG\256\172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7453" y="46440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6" descr="C:\Users\pankratov.in\YandexDisk\!NTI\DOCS\ProjectPresentation\icons\PNG\256\173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3043" y="46440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7" descr="C:\Users\pankratov.in\YandexDisk\!NTI\DOCS\ProjectPresentation\icons\PNG\256\174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4043" y="458076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8" descr="C:\Users\pankratov.in\YandexDisk\!NTI\DOCS\ProjectPresentation\icons\PNG\256\175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0453" y="461022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19" descr="C:\Users\pankratov.in\YandexDisk\!NTI\DOCS\ProjectPresentation\icons\PNG\256\176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1627" y="460184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0" descr="C:\Users\pankratov.in\YandexDisk\!NTI\DOCS\ProjectPresentation\icons\PNG\256\177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4835" y="460184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1" descr="C:\Users\pankratov.in\YandexDisk\!NTI\DOCS\ProjectPresentation\icons\PNG\256\178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3463" y="458076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2" descr="C:\Users\pankratov.in\YandexDisk\!NTI\DOCS\ProjectPresentation\icons\PNG\256\179.pn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0161" y="458076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3" descr="C:\Users\pankratov.in\YandexDisk\!NTI\DOCS\ProjectPresentation\icons\PNG\256\180.pn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553" y="455129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4" descr="C:\Users\pankratov.in\YandexDisk\!NTI\DOCS\ProjectPresentation\icons\PNG\256\181.pn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7551" y="378447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5" descr="C:\Users\pankratov.in\YandexDisk\!NTI\DOCS\ProjectPresentation\icons\PNG\256\182.png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7453" y="378447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6" descr="C:\Users\pankratov.in\YandexDisk\!NTI\DOCS\ProjectPresentation\icons\PNG\256\183.png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3043" y="378447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7" descr="C:\Users\pankratov.in\YandexDisk\!NTI\DOCS\ProjectPresentation\icons\PNG\256\184.png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6743" y="375500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8" descr="C:\Users\pankratov.in\YandexDisk\!NTI\DOCS\ProjectPresentation\icons\PNG\256\185.png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7753" y="375500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9" descr="C:\Users\pankratov.in\YandexDisk\!NTI\DOCS\ProjectPresentation\icons\PNG\256\186.png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1627" y="375500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30" descr="C:\Users\pankratov.in\YandexDisk\!NTI\DOCS\ProjectPresentation\icons\PNG\256\187.png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9937" y="373393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1" descr="C:\Users\pankratov.in\YandexDisk\!NTI\DOCS\ProjectPresentation\icons\PNG\256\188.png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3463" y="370420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32" descr="C:\Users\pankratov.in\YandexDisk\!NTI\DOCS\ProjectPresentation\icons\PNG\256\189.png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9063" y="372529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33" descr="C:\Users\pankratov.in\YandexDisk\!NTI\DOCS\ProjectPresentation\icons\PNG\256\190.png"/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553" y="368719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34" descr="C:\Users\pankratov.in\YandexDisk\!NTI\DOCS\ProjectPresentation\icons\PNG\256\191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9153" y="2899538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35" descr="C:\Users\pankratov.in\YandexDisk\!NTI\DOCS\ProjectPresentation\icons\PNG\256\192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7453" y="292062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36" descr="C:\Users\pankratov.in\YandexDisk\!NTI\DOCS\ProjectPresentation\icons\PNG\256\193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3043" y="292062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37" descr="C:\Users\pankratov.in\YandexDisk\!NTI\DOCS\ProjectPresentation\icons\PNG\256\194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6743" y="2899538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38" descr="C:\Users\pankratov.in\YandexDisk\!NTI\DOCS\ProjectPresentation\icons\PNG\256\195.png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0453" y="282384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39" descr="C:\Users\pankratov.in\YandexDisk\!NTI\DOCS\ProjectPresentation\icons\PNG\256\196.png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1463" y="279006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40" descr="C:\Users\pankratov.in\YandexDisk\!NTI\DOCS\ProjectPresentation\icons\PNG\256\197.png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9937" y="276466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41" descr="C:\Users\pankratov.in\YandexDisk\!NTI\DOCS\ProjectPresentation\icons\PNG\256\198.png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3463" y="275196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42" descr="C:\Users\pankratov.in\YandexDisk\!NTI\DOCS\ProjectPresentation\icons\PNG\256\199.png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9063" y="271818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43" descr="C:\Users\pankratov.in\YandexDisk\!NTI\DOCS\ProjectPresentation\icons\PNG\256\200.png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553" y="276466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44" descr="C:\Users\pankratov.in\YandexDisk\!NTI\DOCS\ProjectPresentation\icons\PNG\256\201.png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7453" y="195567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45" descr="C:\Users\pankratov.in\YandexDisk\!NTI\DOCS\ProjectPresentation\icons\PNG\256\202.png"/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3043" y="195999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46" descr="C:\Users\pankratov.in\YandexDisk\!NTI\DOCS\ProjectPresentation\icons\PNG\256\203.png"/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6743" y="196837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47" descr="C:\Users\pankratov.in\YandexDisk\!NTI\DOCS\ProjectPresentation\icons\PNG\256\204.png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0453" y="192189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48" descr="C:\Users\pankratov.in\YandexDisk\!NTI\DOCS\ProjectPresentation\icons\PNG\256\205.png"/>
          <p:cNvPicPr>
            <a:picLocks noChangeAspect="1" noChangeArrowheads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6227" y="192189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49" descr="C:\Users\pankratov.in\YandexDisk\!NTI\DOCS\ProjectPresentation\icons\PNG\256\206.png"/>
          <p:cNvPicPr>
            <a:picLocks noChangeAspect="1" noChangeArrowheads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4835" y="19008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50" descr="C:\Users\pankratov.in\YandexDisk\!NTI\DOCS\ProjectPresentation\icons\PNG\256\207.png"/>
          <p:cNvPicPr>
            <a:picLocks noChangeAspect="1" noChangeArrowheads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3463" y="19008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51" descr="C:\Users\pankratov.in\YandexDisk\!NTI\DOCS\ProjectPresentation\icons\PNG\256\208.png"/>
          <p:cNvPicPr>
            <a:picLocks noChangeAspect="1" noChangeArrowheads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3663" y="19008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52" descr="C:\Users\pankratov.in\YandexDisk\!NTI\DOCS\ProjectPresentation\icons\PNG\256\209.png"/>
          <p:cNvPicPr>
            <a:picLocks noChangeAspect="1" noChangeArrowheads="1"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553" y="19008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53" descr="C:\Users\pankratov.in\YandexDisk\!NTI\DOCS\ProjectPresentation\icons\PNG\256\210.png"/>
          <p:cNvPicPr>
            <a:picLocks noChangeAspect="1" noChangeArrowheads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9153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54" descr="C:\Users\pankratov.in\YandexDisk\!NTI\DOCS\ProjectPresentation\icons\PNG\256\211.png"/>
          <p:cNvPicPr>
            <a:picLocks noChangeAspect="1" noChangeArrowheads="1"/>
          </p:cNvPicPr>
          <p:nvPr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7453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55" descr="C:\Users\pankratov.in\YandexDisk\!NTI\DOCS\ProjectPresentation\icons\PNG\256\212.png"/>
          <p:cNvPicPr>
            <a:picLocks noChangeAspect="1" noChangeArrowheads="1"/>
          </p:cNvPicPr>
          <p:nvPr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3711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56" descr="C:\Users\pankratov.in\YandexDisk\!NTI\DOCS\ProjectPresentation\icons\PNG\256\213.png"/>
          <p:cNvPicPr>
            <a:picLocks noChangeAspect="1" noChangeArrowheads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6753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57" descr="C:\Users\pankratov.in\YandexDisk\!NTI\DOCS\ProjectPresentation\icons\PNG\256\214.png"/>
          <p:cNvPicPr>
            <a:picLocks noChangeAspect="1" noChangeArrowheads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0453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58" descr="C:\Users\pankratov.in\YandexDisk\!NTI\DOCS\ProjectPresentation\icons\PNG\256\215.png"/>
          <p:cNvPicPr>
            <a:picLocks noChangeAspect="1" noChangeArrowheads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6227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59" descr="C:\Users\pankratov.in\YandexDisk\!NTI\DOCS\ProjectPresentation\icons\PNG\256\216.png"/>
          <p:cNvPicPr>
            <a:picLocks noChangeAspect="1" noChangeArrowheads="1"/>
          </p:cNvPicPr>
          <p:nvPr/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9753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0" descr="C:\Users\pankratov.in\YandexDisk\!NTI\DOCS\ProjectPresentation\icons\PNG\256\217.png"/>
          <p:cNvPicPr>
            <a:picLocks noChangeAspect="1" noChangeArrowheads="1"/>
          </p:cNvPicPr>
          <p:nvPr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5353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61" descr="C:\Users\pankratov.in\YandexDisk\!NTI\DOCS\ProjectPresentation\icons\PNG\256\218.png"/>
          <p:cNvPicPr>
            <a:picLocks noChangeAspect="1" noChangeArrowheads="1"/>
          </p:cNvPicPr>
          <p:nvPr/>
        </p:nvPicPr>
        <p:blipFill>
          <a:blip r:embed="rId6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5243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Набор иконок для визуализации моделей</a:t>
            </a:r>
            <a:endParaRPr lang="ru-RU" b="1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t>09.11.2023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1220" y="6426078"/>
            <a:ext cx="2228850" cy="365125"/>
          </a:xfrm>
        </p:spPr>
        <p:txBody>
          <a:bodyPr/>
          <a:lstStyle/>
          <a:p>
            <a:fld id="{3EF660E9-E116-4F2D-91B7-27BAC0D3A970}" type="slidenum">
              <a:rPr lang="ru-RU" smtClean="0"/>
              <a:t>18</a:t>
            </a:fld>
            <a:endParaRPr lang="ru-RU" dirty="0"/>
          </a:p>
        </p:txBody>
      </p:sp>
      <p:pic>
        <p:nvPicPr>
          <p:cNvPr id="6" name="Picture 2" descr="C:\Users\pankratov.in\YandexDisk\!NTI\DOCS\ProjectPresentation\icons\PNG\256\16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253" y="1075185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9" descr="C:\Users\pankratov.in\YandexDisk\!NTI\DOCS\ProjectPresentation\icons\PNG\256\89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0253" y="358089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0" descr="C:\Users\pankratov.in\YandexDisk\!NTI\DOCS\ProjectPresentation\icons\PNG\256\90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3957" y="3589274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1" descr="C:\Users\pankratov.in\YandexDisk\!NTI\DOCS\ProjectPresentation\icons\PNG\256\91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4153" y="3589274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2" descr="C:\Users\pankratov.in\YandexDisk\!NTI\DOCS\ProjectPresentation\icons\PNG\256\92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9909" y="355549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3" descr="C:\Users\pankratov.in\YandexDisk\!NTI\DOCS\ProjectPresentation\icons\PNG\256\93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6953" y="3513076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4" descr="C:\Users\pankratov.in\YandexDisk\!NTI\DOCS\ProjectPresentation\icons\PNG\256\94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6055" y="350901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5" descr="C:\Users\pankratov.in\YandexDisk\!NTI\DOCS\ProjectPresentation\icons\PNG\256\95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0553" y="355549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6" descr="C:\Users\pankratov.in\YandexDisk\!NTI\DOCS\ProjectPresentation\icons\PNG\256\96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1553" y="355549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7" descr="C:\Users\pankratov.in\YandexDisk\!NTI\DOCS\ProjectPresentation\icons\PNG\256\97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9853" y="3547111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8" descr="C:\Users\pankratov.in\YandexDisk\!NTI\DOCS\ProjectPresentation\icons\PNG\256\98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3547111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9" descr="C:\Users\pankratov.in\YandexDisk\!NTI\DOCS\ProjectPresentation\icons\PNG\256\99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4853" y="2725931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0" descr="C:\Users\pankratov.in\YandexDisk\!NTI\DOCS\ProjectPresentation\icons\PNG\256\100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8101" y="274701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1" descr="C:\Users\pankratov.in\YandexDisk\!NTI\DOCS\ProjectPresentation\icons\PNG\256\101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4153" y="2738629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2" descr="C:\Users\pankratov.in\YandexDisk\!NTI\DOCS\ProjectPresentation\icons\PNG\256\102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3255" y="2713228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3" descr="C:\Users\pankratov.in\YandexDisk\!NTI\DOCS\ProjectPresentation\icons\PNG\256\103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6953" y="2725931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4" descr="C:\Users\pankratov.in\YandexDisk\!NTI\DOCS\ProjectPresentation\icons\PNG\256\104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1456" y="2704847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5" descr="C:\Users\pankratov.in\YandexDisk\!NTI\DOCS\ProjectPresentation\icons\PNG\256\105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0553" y="2704847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6" descr="C:\Users\pankratov.in\YandexDisk\!NTI\DOCS\ProjectPresentation\icons\PNG\256\106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1553" y="2704847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7" descr="C:\Users\pankratov.in\YandexDisk\!NTI\DOCS\ProjectPresentation\icons\PNG\256\107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9056" y="2704847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8" descr="C:\Users\pankratov.in\YandexDisk\!NTI\DOCS\ProjectPresentation\icons\PNG\256\108.pn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2704847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9" descr="C:\Users\pankratov.in\YandexDisk\!NTI\DOCS\ProjectPresentation\icons\PNG\256\109.pn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2953" y="191338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30" descr="C:\Users\pankratov.in\YandexDisk\!NTI\DOCS\ProjectPresentation\icons\PNG\256\110.pn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8101" y="1921764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31" descr="C:\Users\pankratov.in\YandexDisk\!NTI\DOCS\ProjectPresentation\icons\PNG\256\111.png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4153" y="1921764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32" descr="C:\Users\pankratov.in\YandexDisk\!NTI\DOCS\ProjectPresentation\icons\PNG\256\112.png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0553" y="191338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33" descr="C:\Users\pankratov.in\YandexDisk\!NTI\DOCS\ProjectPresentation\icons\PNG\256\113.png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8853" y="191338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34" descr="C:\Users\pankratov.in\YandexDisk\!NTI\DOCS\ProjectPresentation\icons\PNG\256\114.png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0653" y="1904746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35" descr="C:\Users\pankratov.in\YandexDisk\!NTI\DOCS\ProjectPresentation\icons\PNG\256\115.png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9756" y="191338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36" descr="C:\Users\pankratov.in\YandexDisk\!NTI\DOCS\ProjectPresentation\icons\PNG\256\116.png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3453" y="1896365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7" descr="C:\Users\pankratov.in\YandexDisk\!NTI\DOCS\ProjectPresentation\icons\PNG\256\117.png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9853" y="191338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38" descr="C:\Users\pankratov.in\YandexDisk\!NTI\DOCS\ProjectPresentation\icons\PNG\256\118.png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253" y="191338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39" descr="C:\Users\pankratov.in\YandexDisk\!NTI\DOCS\ProjectPresentation\icons\PNG\256\119.png"/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0253" y="1075185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40" descr="C:\Users\pankratov.in\YandexDisk\!NTI\DOCS\ProjectPresentation\icons\PNG\256\120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8101" y="1075185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41" descr="C:\Users\pankratov.in\YandexDisk\!NTI\DOCS\ProjectPresentation\icons\PNG\256\121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4153" y="1075185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42" descr="C:\Users\pankratov.in\YandexDisk\!NTI\DOCS\ProjectPresentation\icons\PNG\256\122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0553" y="1075185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43" descr="C:\Users\pankratov.in\YandexDisk\!NTI\DOCS\ProjectPresentation\icons\PNG\256\123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6953" y="1075185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44" descr="C:\Users\pankratov.in\YandexDisk\!NTI\DOCS\ProjectPresentation\icons\PNG\256\124.png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0653" y="1075185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45" descr="C:\Users\pankratov.in\YandexDisk\!NTI\DOCS\ProjectPresentation\icons\PNG\256\125.png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9756" y="1075185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46" descr="C:\Users\pankratov.in\YandexDisk\!NTI\DOCS\ProjectPresentation\icons\PNG\256\126.png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1553" y="1075185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47" descr="C:\Users\pankratov.in\YandexDisk\!NTI\DOCS\ProjectPresentation\icons\PNG\256\127.png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0656" y="1075185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62" descr="C:\Users\pankratov.in\YandexDisk\!NTI\DOCS\ProjectPresentation\icons\PNG\256\219.png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061" y="444881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63" descr="C:\Users\pankratov.in\YandexDisk\!NTI\DOCS\ProjectPresentation\icons\PNG\256\220.png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2953" y="54267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64" descr="C:\Users\pankratov.in\YandexDisk\!NTI\DOCS\ProjectPresentation\icons\PNG\256\221.png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3307" y="54267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65" descr="C:\Users\pankratov.in\YandexDisk\!NTI\DOCS\ProjectPresentation\icons\PNG\256\222.png"/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7664" y="537972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66" descr="C:\Users\pankratov.in\YandexDisk\!NTI\DOCS\ProjectPresentation\icons\PNG\256\223.png"/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6416" y="54267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67" descr="C:\Users\pankratov.in\YandexDisk\!NTI\DOCS\ProjectPresentation\icons\PNG\256\224.png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7261" y="54267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68" descr="C:\Users\pankratov.in\YandexDisk\!NTI\DOCS\ProjectPresentation\icons\PNG\256\225.png"/>
          <p:cNvPicPr>
            <a:picLocks noChangeAspect="1" noChangeArrowheads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2861" y="54267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69" descr="C:\Users\pankratov.in\YandexDisk\!NTI\DOCS\ProjectPresentation\icons\PNG\256\226.png"/>
          <p:cNvPicPr>
            <a:picLocks noChangeAspect="1" noChangeArrowheads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4363" y="54267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70" descr="C:\Users\pankratov.in\YandexDisk\!NTI\DOCS\ProjectPresentation\icons\PNG\256\227.png"/>
          <p:cNvPicPr>
            <a:picLocks noChangeAspect="1" noChangeArrowheads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4253" y="54267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71" descr="C:\Users\pankratov.in\YandexDisk\!NTI\DOCS\ProjectPresentation\icons\PNG\256\228.png"/>
          <p:cNvPicPr>
            <a:picLocks noChangeAspect="1" noChangeArrowheads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6363" y="54267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72" descr="C:\Users\pankratov.in\YandexDisk\!NTI\DOCS\ProjectPresentation\icons\PNG\256\229.png"/>
          <p:cNvPicPr>
            <a:picLocks noChangeAspect="1" noChangeArrowheads="1"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54267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73" descr="C:\Users\pankratov.in\YandexDisk\!NTI\DOCS\ProjectPresentation\icons\PNG\256\230.png"/>
          <p:cNvPicPr>
            <a:picLocks noChangeAspect="1" noChangeArrowheads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1363" y="450342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74" descr="C:\Users\pankratov.in\YandexDisk\!NTI\DOCS\ProjectPresentation\icons\PNG\256\231.png"/>
          <p:cNvPicPr>
            <a:picLocks noChangeAspect="1" noChangeArrowheads="1"/>
          </p:cNvPicPr>
          <p:nvPr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3163" y="444436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75" descr="C:\Users\pankratov.in\YandexDisk\!NTI\DOCS\ProjectPresentation\icons\PNG\256\232.png"/>
          <p:cNvPicPr>
            <a:picLocks noChangeAspect="1" noChangeArrowheads="1"/>
          </p:cNvPicPr>
          <p:nvPr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6864" y="444881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76" descr="C:\Users\pankratov.in\YandexDisk\!NTI\DOCS\ProjectPresentation\icons\PNG\256\233.png"/>
          <p:cNvPicPr>
            <a:picLocks noChangeAspect="1" noChangeArrowheads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6416" y="450342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77" descr="C:\Users\pankratov.in\YandexDisk\!NTI\DOCS\ProjectPresentation\icons\PNG\256\234.png"/>
          <p:cNvPicPr>
            <a:picLocks noChangeAspect="1" noChangeArrowheads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6953" y="444881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78" descr="C:\Users\pankratov.in\YandexDisk\!NTI\DOCS\ProjectPresentation\icons\PNG\256\235.png"/>
          <p:cNvPicPr>
            <a:picLocks noChangeAspect="1" noChangeArrowheads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2563" y="444881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79" descr="C:\Users\pankratov.in\YandexDisk\!NTI\DOCS\ProjectPresentation\icons\PNG\256\236.png"/>
          <p:cNvPicPr>
            <a:picLocks noChangeAspect="1" noChangeArrowheads="1"/>
          </p:cNvPicPr>
          <p:nvPr/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8924" y="444436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80" descr="C:\Users\pankratov.in\YandexDisk\!NTI\DOCS\ProjectPresentation\icons\PNG\256\237.png"/>
          <p:cNvPicPr>
            <a:picLocks noChangeAspect="1" noChangeArrowheads="1"/>
          </p:cNvPicPr>
          <p:nvPr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3508" y="444436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81" descr="C:\Users\pankratov.in\YandexDisk\!NTI\DOCS\ProjectPresentation\icons\PNG\256\238.png"/>
          <p:cNvPicPr>
            <a:picLocks noChangeAspect="1" noChangeArrowheads="1"/>
          </p:cNvPicPr>
          <p:nvPr/>
        </p:nvPicPr>
        <p:blipFill>
          <a:blip r:embed="rId6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4408" y="444881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Набор иконок для визуализации моделей</a:t>
            </a:r>
            <a:endParaRPr lang="ru-RU" b="1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t>09.11.2023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1220" y="6426078"/>
            <a:ext cx="2228850" cy="365125"/>
          </a:xfrm>
        </p:spPr>
        <p:txBody>
          <a:bodyPr/>
          <a:lstStyle/>
          <a:p>
            <a:fld id="{3EF660E9-E116-4F2D-91B7-27BAC0D3A970}" type="slidenum">
              <a:rPr lang="ru-RU" smtClean="0"/>
              <a:t>19</a:t>
            </a:fld>
            <a:endParaRPr lang="ru-RU" dirty="0"/>
          </a:p>
        </p:txBody>
      </p:sp>
      <p:pic>
        <p:nvPicPr>
          <p:cNvPr id="6" name="Picture 2" descr="C:\Users\pankratov.in\YandexDisk\!NTI\DOCS\ProjectPresentation\icons\PNG\256\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7406" y="55245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31" descr="C:\Users\pankratov.in\YandexDisk\!NTI\DOCS\ProjectPresentation\icons\PNG\256\30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32" descr="C:\Users\pankratov.in\YandexDisk\!NTI\DOCS\ProjectPresentation\icons\PNG\256\3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0456" y="55626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33" descr="C:\Users\pankratov.in\YandexDisk\!NTI\DOCS\ProjectPresentation\icons\PNG\256\32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3201" y="5537201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4" descr="C:\Users\pankratov.in\YandexDisk\!NTI\DOCS\ProjectPresentation\icons\PNG\256\33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0209" y="55245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35" descr="C:\Users\pankratov.in\YandexDisk\!NTI\DOCS\ProjectPresentation\icons\PNG\256\34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7153" y="55245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36" descr="C:\Users\pankratov.in\YandexDisk\!NTI\DOCS\ProjectPresentation\icons\PNG\256\35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3380" y="55118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37" descr="C:\Users\pankratov.in\YandexDisk\!NTI\DOCS\ProjectPresentation\icons\PNG\256\36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0408" y="55245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38" descr="C:\Users\pankratov.in\YandexDisk\!NTI\DOCS\ProjectPresentation\icons\PNG\256\37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2209" y="55245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39" descr="C:\Users\pankratov.in\YandexDisk\!NTI\DOCS\ProjectPresentation\icons\PNG\256\38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55118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0" descr="C:\Users\pankratov.in\YandexDisk\!NTI\DOCS\ProjectPresentation\icons\PNG\256\39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0456" y="4622801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1" descr="C:\Users\pankratov.in\YandexDisk\!NTI\DOCS\ProjectPresentation\icons\PNG\256\40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3806" y="46101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42" descr="C:\Users\pankratov.in\YandexDisk\!NTI\DOCS\ProjectPresentation\icons\PNG\256\41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9754" y="46101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43" descr="C:\Users\pankratov.in\YandexDisk\!NTI\DOCS\ProjectPresentation\icons\PNG\256\42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0753" y="46101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44" descr="C:\Users\pankratov.in\YandexDisk\!NTI\DOCS\ProjectPresentation\icons\PNG\256\43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7153" y="460578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45" descr="C:\Users\pankratov.in\YandexDisk\!NTI\DOCS\ProjectPresentation\icons\PNG\256\44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3380" y="460578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46" descr="C:\Users\pankratov.in\YandexDisk\!NTI\DOCS\ProjectPresentation\icons\PNG\256\45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1853" y="460578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47" descr="C:\Users\pankratov.in\YandexDisk\!NTI\DOCS\ProjectPresentation\icons\PNG\256\46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0953" y="460578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48" descr="C:\Users\pankratov.in\YandexDisk\!NTI\DOCS\ProjectPresentation\icons\PNG\256\47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46101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49" descr="C:\Users\pankratov.in\YandexDisk\!NTI\DOCS\ProjectPresentation\icons\PNG\256\48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1707" y="37211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50" descr="C:\Users\pankratov.in\YandexDisk\!NTI\DOCS\ProjectPresentation\icons\PNG\256\49.pn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1715" y="3708401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51" descr="C:\Users\pankratov.in\YandexDisk\!NTI\DOCS\ProjectPresentation\icons\PNG\256\50.pn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9754" y="3708401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52" descr="C:\Users\pankratov.in\YandexDisk\!NTI\DOCS\ProjectPresentation\icons\PNG\256\51.pn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0753" y="3708401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53" descr="C:\Users\pankratov.in\YandexDisk\!NTI\DOCS\ProjectPresentation\icons\PNG\256\52.png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2554" y="3683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54" descr="C:\Users\pankratov.in\YandexDisk\!NTI\DOCS\ProjectPresentation\icons\PNG\256\53.png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1480" y="37211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55" descr="C:\Users\pankratov.in\YandexDisk\!NTI\DOCS\ProjectPresentation\icons\PNG\256\54.png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0408" y="36703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56" descr="C:\Users\pankratov.in\YandexDisk\!NTI\DOCS\ProjectPresentation\icons\PNG\256\55.png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0953" y="36957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57" descr="C:\Users\pankratov.in\YandexDisk\!NTI\DOCS\ProjectPresentation\icons\PNG\256\56.png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36957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58" descr="C:\Users\pankratov.in\YandexDisk\!NTI\DOCS\ProjectPresentation\icons\PNG\256\57.png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5208" y="28067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59" descr="C:\Users\pankratov.in\YandexDisk\!NTI\DOCS\ProjectPresentation\icons\PNG\256\58.png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3806" y="28067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60" descr="C:\Users\pankratov.in\YandexDisk\!NTI\DOCS\ProjectPresentation\icons\PNG\256\59.png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9754" y="28067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61" descr="C:\Users\pankratov.in\YandexDisk\!NTI\DOCS\ProjectPresentation\icons\PNG\256\60.png"/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0753" y="28067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62" descr="C:\Users\pankratov.in\YandexDisk\!NTI\DOCS\ProjectPresentation\icons\PNG\256\61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7153" y="28067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63" descr="C:\Users\pankratov.in\YandexDisk\!NTI\DOCS\ProjectPresentation\icons\PNG\256\62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1480" y="28067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64" descr="C:\Users\pankratov.in\YandexDisk\!NTI\DOCS\ProjectPresentation\icons\PNG\256\63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1853" y="28067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65" descr="C:\Users\pankratov.in\YandexDisk\!NTI\DOCS\ProjectPresentation\icons\PNG\256\64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0953" y="28067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66" descr="C:\Users\pankratov.in\YandexDisk\!NTI\DOCS\ProjectPresentation\icons\PNG\256\65.png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28067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67" descr="C:\Users\pankratov.in\YandexDisk\!NTI\DOCS\ProjectPresentation\icons\PNG\256\66.png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0456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68" descr="C:\Users\pankratov.in\YandexDisk\!NTI\DOCS\ProjectPresentation\icons\PNG\256\67.png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8756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69" descr="C:\Users\pankratov.in\YandexDisk\!NTI\DOCS\ProjectPresentation\icons\PNG\256\68.png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9754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70" descr="C:\Users\pankratov.in\YandexDisk\!NTI\DOCS\ProjectPresentation\icons\PNG\256\69.png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0753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71" descr="C:\Users\pankratov.in\YandexDisk\!NTI\DOCS\ProjectPresentation\icons\PNG\256\70.png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7153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72" descr="C:\Users\pankratov.in\YandexDisk\!NTI\DOCS\ProjectPresentation\icons\PNG\256\71.png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1480" y="191770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73" descr="C:\Users\pankratov.in\YandexDisk\!NTI\DOCS\ProjectPresentation\icons\PNG\256\72.png"/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1853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74" descr="C:\Users\pankratov.in\YandexDisk\!NTI\DOCS\ProjectPresentation\icons\PNG\256\73.png"/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0953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75" descr="C:\Users\pankratov.in\YandexDisk\!NTI\DOCS\ProjectPresentation\icons\PNG\256\74.png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76" descr="C:\Users\pankratov.in\YandexDisk\!NTI\DOCS\ProjectPresentation\icons\PNG\256\75.png"/>
          <p:cNvPicPr>
            <a:picLocks noChangeAspect="1" noChangeArrowheads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0456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77" descr="C:\Users\pankratov.in\YandexDisk\!NTI\DOCS\ProjectPresentation\icons\PNG\256\76.png"/>
          <p:cNvPicPr>
            <a:picLocks noChangeAspect="1" noChangeArrowheads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8756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78" descr="C:\Users\pankratov.in\YandexDisk\!NTI\DOCS\ProjectPresentation\icons\PNG\256\77.png"/>
          <p:cNvPicPr>
            <a:picLocks noChangeAspect="1" noChangeArrowheads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9754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79" descr="C:\Users\pankratov.in\YandexDisk\!NTI\DOCS\ProjectPresentation\icons\PNG\256\78.png"/>
          <p:cNvPicPr>
            <a:picLocks noChangeAspect="1" noChangeArrowheads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0753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80" descr="C:\Users\pankratov.in\YandexDisk\!NTI\DOCS\ProjectPresentation\icons\PNG\256\79.png"/>
          <p:cNvPicPr>
            <a:picLocks noChangeAspect="1" noChangeArrowheads="1"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7153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81" descr="C:\Users\pankratov.in\YandexDisk\!NTI\DOCS\ProjectPresentation\icons\PNG\256\80.png"/>
          <p:cNvPicPr>
            <a:picLocks noChangeAspect="1" noChangeArrowheads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1480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82" descr="C:\Users\pankratov.in\YandexDisk\!NTI\DOCS\ProjectPresentation\icons\PNG\256\81.png"/>
          <p:cNvPicPr>
            <a:picLocks noChangeAspect="1" noChangeArrowheads="1"/>
          </p:cNvPicPr>
          <p:nvPr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1853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83" descr="C:\Users\pankratov.in\YandexDisk\!NTI\DOCS\ProjectPresentation\icons\PNG\256\82.png"/>
          <p:cNvPicPr>
            <a:picLocks noChangeAspect="1" noChangeArrowheads="1"/>
          </p:cNvPicPr>
          <p:nvPr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0953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3" descr="C:\Users\pankratov.in\YandexDisk\!NTI\DOCS\ProjectPresentation\icons\PNG\256\83.png"/>
          <p:cNvPicPr>
            <a:picLocks noChangeAspect="1" noChangeArrowheads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2309" y="55626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4" descr="C:\Users\pankratov.in\YandexDisk\!NTI\DOCS\ProjectPresentation\icons\PNG\256\84.png"/>
          <p:cNvPicPr>
            <a:picLocks noChangeAspect="1" noChangeArrowheads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2309" y="460578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5" descr="C:\Users\pankratov.in\YandexDisk\!NTI\DOCS\ProjectPresentation\icons\PNG\256\85.png"/>
          <p:cNvPicPr>
            <a:picLocks noChangeAspect="1" noChangeArrowheads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7812" y="36703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6" descr="C:\Users\pankratov.in\YandexDisk\!NTI\DOCS\ProjectPresentation\icons\PNG\256\86.png"/>
          <p:cNvPicPr>
            <a:picLocks noChangeAspect="1" noChangeArrowheads="1"/>
          </p:cNvPicPr>
          <p:nvPr/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7812" y="28067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7" descr="C:\Users\pankratov.in\YandexDisk\!NTI\DOCS\ProjectPresentation\icons\PNG\256\87.png"/>
          <p:cNvPicPr>
            <a:picLocks noChangeAspect="1" noChangeArrowheads="1"/>
          </p:cNvPicPr>
          <p:nvPr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7812" y="188849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8" descr="C:\Users\pankratov.in\YandexDisk\!NTI\DOCS\ProjectPresentation\icons\PNG\256\88.png"/>
          <p:cNvPicPr>
            <a:picLocks noChangeAspect="1" noChangeArrowheads="1"/>
          </p:cNvPicPr>
          <p:nvPr/>
        </p:nvPicPr>
        <p:blipFill>
          <a:blip r:embed="rId6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2218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32520" y="207927"/>
            <a:ext cx="7984430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85" b="1" dirty="0"/>
              <a:t>https://pt.2035.university/project/organizacia-sistemy-kognitivnogo-radio-na-platforme-imeusihsa-tehnologij-v-rf</a:t>
            </a:r>
            <a:endParaRPr lang="ru-RU" sz="1285" b="1" dirty="0"/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381000" y="754417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Shape 185" descr="C:\Users\pankratov.in\YandexDisk\!NTI\DOCS\ProjectPresentation\icons\PNG\256\19.png"/>
          <p:cNvPicPr preferRelativeResize="0"/>
          <p:nvPr/>
        </p:nvPicPr>
        <p:blipFill rotWithShape="1">
          <a:blip r:embed="rId2"/>
          <a:srcRect/>
          <a:stretch>
            <a:fillRect/>
          </a:stretch>
        </p:blipFill>
        <p:spPr>
          <a:xfrm>
            <a:off x="478217" y="840843"/>
            <a:ext cx="430058" cy="411474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TextBox 8"/>
          <p:cNvSpPr txBox="1"/>
          <p:nvPr/>
        </p:nvSpPr>
        <p:spPr>
          <a:xfrm>
            <a:off x="974720" y="860130"/>
            <a:ext cx="1126399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5" dirty="0"/>
              <a:t>Цель проекта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 flipH="1">
            <a:off x="381000" y="3017526"/>
            <a:ext cx="5189211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975162" y="3132163"/>
            <a:ext cx="1557349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5" dirty="0"/>
              <a:t>Результаты проекта</a:t>
            </a:r>
          </a:p>
        </p:txBody>
      </p:sp>
      <p:cxnSp>
        <p:nvCxnSpPr>
          <p:cNvPr id="22" name="Прямая соединительная линия 21"/>
          <p:cNvCxnSpPr/>
          <p:nvPr/>
        </p:nvCxnSpPr>
        <p:spPr>
          <a:xfrm flipH="1">
            <a:off x="375349" y="5229200"/>
            <a:ext cx="9149651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Shape 186" descr="C:\Users\pankratov.in\YandexDisk\!NTI\DOCS\ProjectPresentation\icons\PNG\256\246.png"/>
          <p:cNvPicPr preferRelativeResize="0"/>
          <p:nvPr/>
        </p:nvPicPr>
        <p:blipFill rotWithShape="1">
          <a:blip r:embed="rId3"/>
          <a:srcRect/>
          <a:stretch>
            <a:fillRect/>
          </a:stretch>
        </p:blipFill>
        <p:spPr>
          <a:xfrm>
            <a:off x="583655" y="5300038"/>
            <a:ext cx="649242" cy="649242"/>
          </a:xfrm>
          <a:prstGeom prst="rect">
            <a:avLst/>
          </a:prstGeom>
          <a:noFill/>
          <a:ln>
            <a:noFill/>
          </a:ln>
        </p:spPr>
      </p:pic>
      <p:sp>
        <p:nvSpPr>
          <p:cNvPr id="28" name="Shape 180"/>
          <p:cNvSpPr/>
          <p:nvPr/>
        </p:nvSpPr>
        <p:spPr>
          <a:xfrm>
            <a:off x="1422797" y="5388687"/>
            <a:ext cx="4613909" cy="29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85" dirty="0">
                <a:sym typeface="Calibri" panose="020F0502020204030204"/>
              </a:rPr>
              <a:t>Общая стоимость проекта (тыс. рублей)</a:t>
            </a:r>
            <a:endParaRPr sz="1285" dirty="0"/>
          </a:p>
        </p:txBody>
      </p:sp>
      <p:sp>
        <p:nvSpPr>
          <p:cNvPr id="29" name="Shape 189"/>
          <p:cNvSpPr/>
          <p:nvPr/>
        </p:nvSpPr>
        <p:spPr>
          <a:xfrm>
            <a:off x="5261606" y="5400217"/>
            <a:ext cx="1134336" cy="312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pPr algn="ctr"/>
            <a:r>
              <a:rPr lang="ru-RU" sz="1285" b="1" dirty="0" smtClean="0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???</a:t>
            </a:r>
            <a:endParaRPr sz="1285" b="1" dirty="0">
              <a:solidFill>
                <a:schemeClr val="dk1"/>
              </a:solidFill>
              <a:latin typeface="Calibri" panose="020F0502020204030204"/>
              <a:ea typeface="Calibri" panose="020F0502020204030204"/>
              <a:cs typeface="Calibri" panose="020F0502020204030204"/>
              <a:sym typeface="Calibri" panose="020F0502020204030204"/>
            </a:endParaRPr>
          </a:p>
        </p:txBody>
      </p:sp>
      <p:sp>
        <p:nvSpPr>
          <p:cNvPr id="30" name="Shape 187"/>
          <p:cNvSpPr/>
          <p:nvPr/>
        </p:nvSpPr>
        <p:spPr>
          <a:xfrm>
            <a:off x="1605364" y="5980340"/>
            <a:ext cx="1598871" cy="4396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pPr algn="ctr"/>
            <a:r>
              <a:rPr lang="ru-RU" sz="1145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Собственные средства</a:t>
            </a:r>
            <a:br>
              <a:rPr lang="ru-RU" sz="1145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</a:br>
            <a:r>
              <a:rPr lang="ru-RU" sz="1145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???</a:t>
            </a:r>
            <a:endParaRPr sz="1145" b="1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/>
              <a:ea typeface="Calibri" panose="020F0502020204030204"/>
              <a:cs typeface="Calibri" panose="020F0502020204030204"/>
              <a:sym typeface="Calibri" panose="020F0502020204030204"/>
            </a:endParaRPr>
          </a:p>
        </p:txBody>
      </p:sp>
      <p:sp>
        <p:nvSpPr>
          <p:cNvPr id="31" name="Shape 190"/>
          <p:cNvSpPr/>
          <p:nvPr/>
        </p:nvSpPr>
        <p:spPr>
          <a:xfrm>
            <a:off x="4027183" y="5980742"/>
            <a:ext cx="1827836" cy="4397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pPr algn="ctr"/>
            <a:r>
              <a:rPr lang="ru-RU" sz="1145" b="1" dirty="0">
                <a:solidFill>
                  <a:schemeClr val="accent5">
                    <a:lumMod val="75000"/>
                  </a:schemeClr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Привлекаемые средства</a:t>
            </a:r>
            <a:br>
              <a:rPr lang="ru-RU" sz="1145" b="1" dirty="0">
                <a:solidFill>
                  <a:schemeClr val="accent5">
                    <a:lumMod val="75000"/>
                  </a:schemeClr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</a:br>
            <a:r>
              <a:rPr lang="ru-RU" sz="1145" b="1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???</a:t>
            </a:r>
            <a:endParaRPr sz="1145" b="1" dirty="0">
              <a:solidFill>
                <a:schemeClr val="accent5">
                  <a:lumMod val="75000"/>
                </a:schemeClr>
              </a:solidFill>
              <a:latin typeface="Calibri" panose="020F0502020204030204"/>
              <a:ea typeface="Calibri" panose="020F0502020204030204"/>
              <a:cs typeface="Calibri" panose="020F0502020204030204"/>
              <a:sym typeface="Calibri" panose="020F0502020204030204"/>
            </a:endParaRPr>
          </a:p>
        </p:txBody>
      </p:sp>
      <p:graphicFrame>
        <p:nvGraphicFramePr>
          <p:cNvPr id="32" name="Диаграмма 31"/>
          <p:cNvGraphicFramePr/>
          <p:nvPr/>
        </p:nvGraphicFramePr>
        <p:xfrm>
          <a:off x="3170395" y="5753834"/>
          <a:ext cx="965142" cy="9155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5" name="Shape 208"/>
          <p:cNvSpPr/>
          <p:nvPr/>
        </p:nvSpPr>
        <p:spPr>
          <a:xfrm>
            <a:off x="478217" y="1271022"/>
            <a:ext cx="4989126" cy="1719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r>
              <a:rPr lang="ru-RU" sz="1100" dirty="0"/>
              <a:t>Целью проекта является создание устройства </a:t>
            </a:r>
            <a:r>
              <a:rPr lang="ru-RU" sz="1100" dirty="0" smtClean="0"/>
              <a:t>когнитивного радио с гибридным подходом, </a:t>
            </a:r>
            <a:r>
              <a:rPr lang="ru-RU" sz="1100" dirty="0"/>
              <a:t>на основе имеющихся разработок в этой области</a:t>
            </a:r>
            <a:r>
              <a:rPr lang="ru-RU" sz="1100" dirty="0" smtClean="0"/>
              <a:t>. </a:t>
            </a:r>
            <a:endParaRPr lang="ru-RU" sz="1100" dirty="0">
              <a:effectLst/>
            </a:endParaRPr>
          </a:p>
        </p:txBody>
      </p:sp>
      <p:sp>
        <p:nvSpPr>
          <p:cNvPr id="37" name="Shape 208"/>
          <p:cNvSpPr/>
          <p:nvPr/>
        </p:nvSpPr>
        <p:spPr>
          <a:xfrm>
            <a:off x="581086" y="3551774"/>
            <a:ext cx="4989126" cy="1673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pPr lvl="0"/>
            <a:r>
              <a:rPr lang="ru-RU" sz="1100" dirty="0" smtClean="0"/>
              <a:t>Результатом проекта является  </a:t>
            </a:r>
            <a:r>
              <a:rPr lang="ru-RU" sz="1100" dirty="0"/>
              <a:t>система устройств, выполняющая поставленные задачи, улучшающая использование спектра частот, строго ограниченного разрешенным диапазоном, а также повышение качества доступа к </a:t>
            </a:r>
            <a:r>
              <a:rPr lang="ru-RU" sz="1100" dirty="0" err="1"/>
              <a:t>Wi-Fi</a:t>
            </a:r>
            <a:r>
              <a:rPr lang="ru-RU" sz="1100" dirty="0"/>
              <a:t>.</a:t>
            </a:r>
            <a:endParaRPr lang="ru-RU" sz="1070" dirty="0">
              <a:latin typeface="Calibri" panose="020F0502020204030204" charset="0"/>
              <a:cs typeface="Calibri" panose="020F0502020204030204" charset="0"/>
            </a:endParaRPr>
          </a:p>
        </p:txBody>
      </p:sp>
      <p:pic>
        <p:nvPicPr>
          <p:cNvPr id="39" name="Shape 177" descr="C:\Users\pankratov.in\YandexDisk\!NTI\DOCS\ProjectPresentation\icons\PNG\256\330.png"/>
          <p:cNvPicPr preferRelativeResize="0"/>
          <p:nvPr/>
        </p:nvPicPr>
        <p:blipFill rotWithShape="1">
          <a:blip r:embed="rId5"/>
          <a:srcRect/>
          <a:stretch>
            <a:fillRect/>
          </a:stretch>
        </p:blipFill>
        <p:spPr>
          <a:xfrm>
            <a:off x="543549" y="3120394"/>
            <a:ext cx="411831" cy="402970"/>
          </a:xfrm>
          <a:prstGeom prst="rect">
            <a:avLst/>
          </a:prstGeom>
          <a:noFill/>
          <a:ln>
            <a:noFill/>
          </a:ln>
        </p:spPr>
      </p:pic>
      <p:sp>
        <p:nvSpPr>
          <p:cNvPr id="45" name="TextBox 44"/>
          <p:cNvSpPr txBox="1"/>
          <p:nvPr/>
        </p:nvSpPr>
        <p:spPr>
          <a:xfrm>
            <a:off x="5695734" y="805852"/>
            <a:ext cx="1405449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5" dirty="0"/>
              <a:t>Команда проекта</a:t>
            </a:r>
          </a:p>
        </p:txBody>
      </p:sp>
      <p:sp>
        <p:nvSpPr>
          <p:cNvPr id="46" name="Shape 275"/>
          <p:cNvSpPr/>
          <p:nvPr/>
        </p:nvSpPr>
        <p:spPr>
          <a:xfrm>
            <a:off x="6304918" y="1213242"/>
            <a:ext cx="1562335" cy="373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r>
              <a:rPr lang="ru-RU" sz="1000" b="1" dirty="0" smtClean="0">
                <a:solidFill>
                  <a:srgbClr val="003462"/>
                </a:solidFill>
                <a:ea typeface="Calibri" panose="020F0502020204030204"/>
                <a:cs typeface="Calibri" panose="020F0502020204030204"/>
                <a:sym typeface="Calibri" panose="020F0502020204030204"/>
              </a:rPr>
              <a:t>Козупица Иван</a:t>
            </a:r>
            <a:r>
              <a:rPr lang="ru-RU" sz="1000" b="1" dirty="0" smtClean="0">
                <a:solidFill>
                  <a:srgbClr val="003462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/>
            </a:r>
            <a:br>
              <a:rPr lang="ru-RU" sz="1000" b="1" dirty="0" smtClean="0">
                <a:solidFill>
                  <a:srgbClr val="003462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</a:br>
            <a:r>
              <a:rPr lang="ru-RU" sz="930" dirty="0" smtClean="0"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Автор идеи и методолог</a:t>
            </a:r>
            <a:endParaRPr sz="930" dirty="0">
              <a:latin typeface="Calibri" panose="020F0502020204030204"/>
              <a:ea typeface="Calibri" panose="020F0502020204030204"/>
              <a:cs typeface="Calibri" panose="020F0502020204030204"/>
            </a:endParaRPr>
          </a:p>
        </p:txBody>
      </p:sp>
      <p:sp>
        <p:nvSpPr>
          <p:cNvPr id="47" name="Shape 280"/>
          <p:cNvSpPr/>
          <p:nvPr/>
        </p:nvSpPr>
        <p:spPr>
          <a:xfrm>
            <a:off x="8028607" y="1423063"/>
            <a:ext cx="1399176" cy="30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endParaRPr sz="785" dirty="0">
              <a:latin typeface="Calibri" panose="020F0502020204030204"/>
              <a:ea typeface="Calibri" panose="020F0502020204030204"/>
              <a:cs typeface="Calibri" panose="020F0502020204030204"/>
            </a:endParaRPr>
          </a:p>
        </p:txBody>
      </p:sp>
      <p:sp>
        <p:nvSpPr>
          <p:cNvPr id="50" name="Shape 275"/>
          <p:cNvSpPr/>
          <p:nvPr/>
        </p:nvSpPr>
        <p:spPr>
          <a:xfrm>
            <a:off x="6275774" y="1560064"/>
            <a:ext cx="1585940" cy="373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r>
              <a:rPr lang="ru-RU" sz="1000" b="1" dirty="0">
                <a:solidFill>
                  <a:srgbClr val="003462"/>
                </a:solidFill>
                <a:ea typeface="Calibri" panose="020F0502020204030204"/>
                <a:cs typeface="Calibri" panose="020F0502020204030204"/>
                <a:sym typeface="Calibri" panose="020F0502020204030204"/>
              </a:rPr>
              <a:t>Владислав </a:t>
            </a:r>
            <a:r>
              <a:rPr lang="ru-RU" sz="1000" b="1" dirty="0" err="1" smtClean="0">
                <a:solidFill>
                  <a:srgbClr val="003462"/>
                </a:solidFill>
                <a:ea typeface="Calibri" panose="020F0502020204030204"/>
                <a:cs typeface="Calibri" panose="020F0502020204030204"/>
                <a:sym typeface="Calibri" panose="020F0502020204030204"/>
              </a:rPr>
              <a:t>Плющиков</a:t>
            </a:r>
            <a:endParaRPr lang="ru-RU" sz="1000" b="1" dirty="0" smtClean="0">
              <a:solidFill>
                <a:srgbClr val="003462"/>
              </a:solidFill>
              <a:ea typeface="Calibri" panose="020F0502020204030204"/>
              <a:cs typeface="Calibri" panose="020F0502020204030204"/>
              <a:sym typeface="Calibri" panose="020F0502020204030204"/>
            </a:endParaRPr>
          </a:p>
          <a:p>
            <a:r>
              <a:rPr lang="ru-RU" sz="930" dirty="0" smtClean="0"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Архитектор системы</a:t>
            </a:r>
            <a:endParaRPr sz="930" dirty="0">
              <a:latin typeface="Calibri" panose="020F0502020204030204"/>
              <a:ea typeface="Calibri" panose="020F0502020204030204"/>
              <a:cs typeface="Calibri" panose="020F0502020204030204"/>
            </a:endParaRPr>
          </a:p>
        </p:txBody>
      </p:sp>
      <p:sp>
        <p:nvSpPr>
          <p:cNvPr id="51" name="Shape 280"/>
          <p:cNvSpPr/>
          <p:nvPr/>
        </p:nvSpPr>
        <p:spPr>
          <a:xfrm>
            <a:off x="6229141" y="2193484"/>
            <a:ext cx="1309651" cy="309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endParaRPr sz="785" dirty="0">
              <a:solidFill>
                <a:srgbClr val="000000"/>
              </a:solidFill>
              <a:latin typeface="Calibri" panose="020F0502020204030204"/>
              <a:ea typeface="Calibri" panose="020F0502020204030204"/>
              <a:cs typeface="Calibri" panose="020F0502020204030204"/>
            </a:endParaRPr>
          </a:p>
        </p:txBody>
      </p:sp>
      <p:sp>
        <p:nvSpPr>
          <p:cNvPr id="52" name="Shape 275"/>
          <p:cNvSpPr/>
          <p:nvPr/>
        </p:nvSpPr>
        <p:spPr>
          <a:xfrm>
            <a:off x="8015622" y="1550525"/>
            <a:ext cx="1494491" cy="4987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r>
              <a:rPr lang="ru-RU" sz="1000" b="1" dirty="0" smtClean="0">
                <a:solidFill>
                  <a:srgbClr val="003462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Федотов Виктор </a:t>
            </a:r>
            <a:r>
              <a:rPr lang="ru-RU" sz="930" dirty="0" smtClean="0"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Технический специалист</a:t>
            </a:r>
            <a:endParaRPr sz="930" dirty="0">
              <a:latin typeface="Calibri" panose="020F0502020204030204"/>
              <a:ea typeface="Calibri" panose="020F0502020204030204"/>
              <a:cs typeface="Calibri" panose="020F0502020204030204"/>
            </a:endParaRPr>
          </a:p>
        </p:txBody>
      </p:sp>
      <p:sp>
        <p:nvSpPr>
          <p:cNvPr id="53" name="Shape 280"/>
          <p:cNvSpPr/>
          <p:nvPr/>
        </p:nvSpPr>
        <p:spPr>
          <a:xfrm>
            <a:off x="8028607" y="2356968"/>
            <a:ext cx="1346012" cy="3074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endParaRPr sz="1285" dirty="0"/>
          </a:p>
        </p:txBody>
      </p:sp>
      <p:sp>
        <p:nvSpPr>
          <p:cNvPr id="59" name="Прямоугольник 58"/>
          <p:cNvSpPr/>
          <p:nvPr/>
        </p:nvSpPr>
        <p:spPr>
          <a:xfrm>
            <a:off x="5673080" y="2538082"/>
            <a:ext cx="4139244" cy="285878"/>
          </a:xfrm>
          <a:prstGeom prst="rect">
            <a:avLst/>
          </a:prstGeom>
        </p:spPr>
        <p:txBody>
          <a:bodyPr wrap="square" lIns="65309" tIns="32654" rIns="65309" bIns="32654">
            <a:spAutoFit/>
          </a:bodyPr>
          <a:lstStyle/>
          <a:p>
            <a:pPr>
              <a:spcBef>
                <a:spcPts val="430"/>
              </a:spcBef>
            </a:pPr>
            <a:r>
              <a:rPr lang="ru-RU" sz="1430" dirty="0"/>
              <a:t>Компания-инициатор</a:t>
            </a:r>
            <a:endParaRPr lang="ru-RU" sz="1430" b="1" u="sng" dirty="0">
              <a:solidFill>
                <a:srgbClr val="232323"/>
              </a:solidFill>
              <a:latin typeface="Calibri" panose="020F0502020204030204"/>
              <a:ea typeface="Calibri" panose="020F0502020204030204"/>
              <a:cs typeface="Calibri" panose="020F0502020204030204"/>
            </a:endParaRPr>
          </a:p>
        </p:txBody>
      </p:sp>
      <p:sp>
        <p:nvSpPr>
          <p:cNvPr id="63" name="Shape 179"/>
          <p:cNvSpPr/>
          <p:nvPr/>
        </p:nvSpPr>
        <p:spPr>
          <a:xfrm>
            <a:off x="6695133" y="4284212"/>
            <a:ext cx="1755399" cy="10478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r>
              <a:rPr lang="ru-RU" sz="1070" b="1" dirty="0">
                <a:solidFill>
                  <a:schemeClr val="dk2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/>
            </a:r>
            <a:br>
              <a:rPr lang="ru-RU" sz="1070" b="1" dirty="0">
                <a:solidFill>
                  <a:schemeClr val="dk2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</a:br>
            <a:r>
              <a:rPr lang="ru-RU" sz="1070" dirty="0">
                <a:latin typeface="Calibri" panose="020F0502020204030204" charset="0"/>
                <a:cs typeface="Calibri" panose="020F0502020204030204" charset="0"/>
                <a:sym typeface="Calibri" panose="020F0502020204030204"/>
              </a:rPr>
              <a:t>Этап 1. Пилот: </a:t>
            </a:r>
            <a:r>
              <a:rPr lang="ru-RU" sz="1070" dirty="0" smtClean="0">
                <a:latin typeface="Calibri" panose="020F0502020204030204" charset="0"/>
                <a:cs typeface="Calibri" panose="020F0502020204030204" charset="0"/>
                <a:sym typeface="Calibri" panose="020F0502020204030204"/>
              </a:rPr>
              <a:t>2023-2024</a:t>
            </a:r>
            <a:endParaRPr sz="1070" dirty="0">
              <a:latin typeface="Calibri" panose="020F0502020204030204" charset="0"/>
              <a:cs typeface="Calibri" panose="020F0502020204030204" charset="0"/>
            </a:endParaRPr>
          </a:p>
          <a:p>
            <a:pPr>
              <a:spcBef>
                <a:spcPts val="430"/>
              </a:spcBef>
            </a:pPr>
            <a:r>
              <a:rPr lang="ru-RU" sz="1070" dirty="0">
                <a:latin typeface="Calibri" panose="020F0502020204030204" charset="0"/>
                <a:cs typeface="Calibri" panose="020F0502020204030204" charset="0"/>
                <a:sym typeface="Calibri" panose="020F0502020204030204"/>
              </a:rPr>
              <a:t>Этап 2. Развитие: </a:t>
            </a:r>
            <a:r>
              <a:rPr lang="ru-RU" sz="1070" dirty="0" smtClean="0">
                <a:latin typeface="Calibri" panose="020F0502020204030204" charset="0"/>
                <a:cs typeface="Calibri" panose="020F0502020204030204" charset="0"/>
                <a:sym typeface="Calibri" panose="020F0502020204030204"/>
              </a:rPr>
              <a:t>2024-2026</a:t>
            </a:r>
            <a:endParaRPr sz="1070" dirty="0">
              <a:latin typeface="Calibri" panose="020F0502020204030204" charset="0"/>
              <a:cs typeface="Calibri" panose="020F0502020204030204" charset="0"/>
            </a:endParaRPr>
          </a:p>
          <a:p>
            <a:pPr>
              <a:spcBef>
                <a:spcPts val="430"/>
              </a:spcBef>
            </a:pPr>
            <a:r>
              <a:rPr lang="ru-RU" sz="1070" dirty="0">
                <a:latin typeface="Calibri" panose="020F0502020204030204" charset="0"/>
                <a:cs typeface="Calibri" panose="020F0502020204030204" charset="0"/>
                <a:sym typeface="Calibri" panose="020F0502020204030204"/>
              </a:rPr>
              <a:t>Этап 3. Тираж: </a:t>
            </a:r>
            <a:r>
              <a:rPr lang="ru-RU" sz="1070" dirty="0" smtClean="0">
                <a:latin typeface="Calibri" panose="020F0502020204030204" charset="0"/>
                <a:cs typeface="Calibri" panose="020F0502020204030204" charset="0"/>
                <a:sym typeface="Calibri" panose="020F0502020204030204"/>
              </a:rPr>
              <a:t>2026-2027</a:t>
            </a:r>
            <a:endParaRPr sz="1070" dirty="0">
              <a:latin typeface="Calibri" panose="020F0502020204030204" charset="0"/>
              <a:cs typeface="Calibri" panose="020F0502020204030204" charset="0"/>
            </a:endParaRPr>
          </a:p>
          <a:p>
            <a:endParaRPr sz="1070" dirty="0">
              <a:latin typeface="Calibri" panose="020F0502020204030204" charset="0"/>
              <a:cs typeface="Calibri" panose="020F0502020204030204" charset="0"/>
              <a:sym typeface="Calibri" panose="020F0502020204030204"/>
            </a:endParaRPr>
          </a:p>
        </p:txBody>
      </p:sp>
      <p:pic>
        <p:nvPicPr>
          <p:cNvPr id="64" name="Shape 191" descr="C:\Users\pankratov.in\YandexDisk\!NTI\DOCS\ProjectPresentation\icons\PNG\256\372.png"/>
          <p:cNvPicPr preferRelativeResize="0"/>
          <p:nvPr/>
        </p:nvPicPr>
        <p:blipFill rotWithShape="1">
          <a:blip r:embed="rId6"/>
          <a:srcRect/>
          <a:stretch>
            <a:fillRect/>
          </a:stretch>
        </p:blipFill>
        <p:spPr>
          <a:xfrm>
            <a:off x="6265509" y="4250595"/>
            <a:ext cx="352459" cy="36139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66" name="Shape 203"/>
          <p:cNvGrpSpPr/>
          <p:nvPr/>
        </p:nvGrpSpPr>
        <p:grpSpPr>
          <a:xfrm>
            <a:off x="6238857" y="4171603"/>
            <a:ext cx="215490" cy="263809"/>
            <a:chOff x="8202534" y="1348519"/>
            <a:chExt cx="301686" cy="369332"/>
          </a:xfrm>
        </p:grpSpPr>
        <p:sp>
          <p:nvSpPr>
            <p:cNvPr id="67" name="Shape 204"/>
            <p:cNvSpPr/>
            <p:nvPr/>
          </p:nvSpPr>
          <p:spPr>
            <a:xfrm>
              <a:off x="8262938" y="1447963"/>
              <a:ext cx="173414" cy="173414"/>
            </a:xfrm>
            <a:prstGeom prst="roundRect">
              <a:avLst>
                <a:gd name="adj" fmla="val 50000"/>
              </a:avLst>
            </a:prstGeom>
            <a:solidFill>
              <a:srgbClr val="FFD05B"/>
            </a:solidFill>
            <a:ln>
              <a:noFill/>
            </a:ln>
          </p:spPr>
          <p:txBody>
            <a:bodyPr spcFirstLastPara="1" wrap="square" lIns="65304" tIns="32643" rIns="65304" bIns="32643" anchor="ctr" anchorCtr="0">
              <a:noAutofit/>
            </a:bodyPr>
            <a:lstStyle/>
            <a:p>
              <a:pPr algn="ctr"/>
              <a:endParaRPr sz="1285">
                <a:solidFill>
                  <a:schemeClr val="lt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endParaRPr>
            </a:p>
          </p:txBody>
        </p:sp>
        <p:sp>
          <p:nvSpPr>
            <p:cNvPr id="68" name="Shape 205"/>
            <p:cNvSpPr txBox="1"/>
            <p:nvPr/>
          </p:nvSpPr>
          <p:spPr>
            <a:xfrm>
              <a:off x="8202534" y="1348519"/>
              <a:ext cx="301686" cy="3693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5304" tIns="32643" rIns="65304" bIns="32643" anchor="t" anchorCtr="0">
              <a:noAutofit/>
            </a:bodyPr>
            <a:lstStyle/>
            <a:p>
              <a:r>
                <a:rPr lang="ru-RU" sz="1285">
                  <a:solidFill>
                    <a:schemeClr val="dk1"/>
                  </a:solidFill>
                  <a:latin typeface="Calibri" panose="020F0502020204030204"/>
                  <a:ea typeface="Calibri" panose="020F0502020204030204"/>
                  <a:cs typeface="Calibri" panose="020F0502020204030204"/>
                  <a:sym typeface="Calibri" panose="020F0502020204030204"/>
                </a:rPr>
                <a:t>Р</a:t>
              </a:r>
              <a:endParaRPr sz="1285"/>
            </a:p>
          </p:txBody>
        </p:sp>
        <p:cxnSp>
          <p:nvCxnSpPr>
            <p:cNvPr id="69" name="Shape 206"/>
            <p:cNvCxnSpPr/>
            <p:nvPr/>
          </p:nvCxnSpPr>
          <p:spPr>
            <a:xfrm>
              <a:off x="8299637" y="1568905"/>
              <a:ext cx="89926" cy="0"/>
            </a:xfrm>
            <a:prstGeom prst="straightConnector1">
              <a:avLst/>
            </a:prstGeom>
            <a:noFill/>
            <a:ln w="9525" cap="rnd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70" name="Прямоугольник 69"/>
          <p:cNvSpPr/>
          <p:nvPr/>
        </p:nvSpPr>
        <p:spPr>
          <a:xfrm>
            <a:off x="6664228" y="4129909"/>
            <a:ext cx="1210588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5" dirty="0">
                <a:sym typeface="Calibri" panose="020F0502020204030204"/>
              </a:rPr>
              <a:t>Сроки проекта</a:t>
            </a:r>
            <a:endParaRPr lang="ru-RU" sz="1285" dirty="0"/>
          </a:p>
        </p:txBody>
      </p:sp>
      <p:cxnSp>
        <p:nvCxnSpPr>
          <p:cNvPr id="72" name="Прямая соединительная линия 71"/>
          <p:cNvCxnSpPr/>
          <p:nvPr/>
        </p:nvCxnSpPr>
        <p:spPr>
          <a:xfrm>
            <a:off x="5564560" y="4149080"/>
            <a:ext cx="396044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5570211" y="754417"/>
            <a:ext cx="0" cy="4474783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361820" y="-17097"/>
            <a:ext cx="9175717" cy="35330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9370" marR="18415">
              <a:lnSpc>
                <a:spcPct val="112000"/>
              </a:lnSpc>
              <a:spcBef>
                <a:spcPts val="630"/>
              </a:spcBef>
            </a:pPr>
            <a:r>
              <a:rPr lang="ru-RU" sz="1600" b="1" cap="all" dirty="0"/>
              <a:t>ОРГАНИЗАЦИЯ СИСТЕМЫ КОГНИТИВНОГО РАДИО НА ПЛАТФОРМЕ ИМЕЮЩИХСЯ ТЕХНОЛОГИЙ В РФ</a:t>
            </a:r>
          </a:p>
        </p:txBody>
      </p:sp>
      <p:sp>
        <p:nvSpPr>
          <p:cNvPr id="76" name="Shape 190"/>
          <p:cNvSpPr/>
          <p:nvPr/>
        </p:nvSpPr>
        <p:spPr>
          <a:xfrm>
            <a:off x="6914241" y="6332514"/>
            <a:ext cx="1670786" cy="4397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pPr algn="ctr"/>
            <a:r>
              <a:rPr lang="ru-RU" sz="1145" dirty="0">
                <a:solidFill>
                  <a:schemeClr val="accent5">
                    <a:lumMod val="75000"/>
                  </a:schemeClr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Грант</a:t>
            </a:r>
            <a:r>
              <a:rPr lang="ru-RU" sz="1145" b="1" dirty="0">
                <a:solidFill>
                  <a:schemeClr val="accent5">
                    <a:lumMod val="75000"/>
                  </a:schemeClr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/>
            </a:r>
            <a:br>
              <a:rPr lang="ru-RU" sz="1145" b="1" dirty="0">
                <a:solidFill>
                  <a:schemeClr val="accent5">
                    <a:lumMod val="75000"/>
                  </a:schemeClr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</a:br>
            <a:r>
              <a:rPr lang="ru-RU" sz="1145" b="1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???</a:t>
            </a:r>
            <a:endParaRPr sz="1145" b="1" dirty="0">
              <a:solidFill>
                <a:schemeClr val="accent5">
                  <a:lumMod val="75000"/>
                </a:schemeClr>
              </a:solidFill>
              <a:latin typeface="Calibri" panose="020F0502020204030204"/>
              <a:ea typeface="Calibri" panose="020F0502020204030204"/>
              <a:cs typeface="Calibri" panose="020F0502020204030204"/>
              <a:sym typeface="Calibri" panose="020F0502020204030204"/>
            </a:endParaRPr>
          </a:p>
        </p:txBody>
      </p:sp>
      <p:sp>
        <p:nvSpPr>
          <p:cNvPr id="84" name="Shape 190"/>
          <p:cNvSpPr/>
          <p:nvPr/>
        </p:nvSpPr>
        <p:spPr>
          <a:xfrm>
            <a:off x="6627993" y="5493084"/>
            <a:ext cx="2263109" cy="4397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pPr algn="ctr"/>
            <a:r>
              <a:rPr lang="ru-RU" sz="1145" dirty="0">
                <a:solidFill>
                  <a:schemeClr val="accent5">
                    <a:lumMod val="75000"/>
                  </a:schemeClr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Взнос в уставной капитал</a:t>
            </a:r>
            <a:br>
              <a:rPr lang="ru-RU" sz="1145" dirty="0">
                <a:solidFill>
                  <a:schemeClr val="accent5">
                    <a:lumMod val="75000"/>
                  </a:schemeClr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</a:br>
            <a:r>
              <a:rPr lang="ru-RU" sz="1145" b="1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???</a:t>
            </a:r>
            <a:endParaRPr sz="1145" b="1" dirty="0">
              <a:solidFill>
                <a:schemeClr val="accent5">
                  <a:lumMod val="75000"/>
                </a:schemeClr>
              </a:solidFill>
              <a:latin typeface="Calibri" panose="020F0502020204030204"/>
              <a:ea typeface="Calibri" panose="020F0502020204030204"/>
              <a:cs typeface="Calibri" panose="020F0502020204030204"/>
              <a:sym typeface="Calibri" panose="020F0502020204030204"/>
            </a:endParaRPr>
          </a:p>
        </p:txBody>
      </p:sp>
      <p:cxnSp>
        <p:nvCxnSpPr>
          <p:cNvPr id="6" name="Прямая со стрелкой 5"/>
          <p:cNvCxnSpPr/>
          <p:nvPr/>
        </p:nvCxnSpPr>
        <p:spPr>
          <a:xfrm flipV="1">
            <a:off x="5855019" y="5671603"/>
            <a:ext cx="840114" cy="48765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 стрелкой 10"/>
          <p:cNvCxnSpPr/>
          <p:nvPr/>
        </p:nvCxnSpPr>
        <p:spPr>
          <a:xfrm>
            <a:off x="5855019" y="6159261"/>
            <a:ext cx="840114" cy="41732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Shape 275"/>
          <p:cNvSpPr/>
          <p:nvPr/>
        </p:nvSpPr>
        <p:spPr>
          <a:xfrm>
            <a:off x="6143008" y="2823853"/>
            <a:ext cx="1303399" cy="2669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6646" tIns="23316" rIns="46646" bIns="23316" anchor="t" anchorCtr="0">
            <a:noAutofit/>
          </a:bodyPr>
          <a:lstStyle/>
          <a:p>
            <a:r>
              <a:rPr lang="ru-RU" sz="715" b="1" dirty="0"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ООО Пример</a:t>
            </a:r>
            <a:endParaRPr sz="665" dirty="0">
              <a:latin typeface="Calibri" panose="020F0502020204030204"/>
              <a:ea typeface="Calibri" panose="020F0502020204030204"/>
              <a:cs typeface="Calibri" panose="020F0502020204030204"/>
            </a:endParaRPr>
          </a:p>
        </p:txBody>
      </p:sp>
      <p:sp>
        <p:nvSpPr>
          <p:cNvPr id="86" name="Shape 280"/>
          <p:cNvSpPr/>
          <p:nvPr/>
        </p:nvSpPr>
        <p:spPr>
          <a:xfrm>
            <a:off x="6141648" y="2984389"/>
            <a:ext cx="1267269" cy="2198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6646" tIns="23316" rIns="46646" bIns="23316" anchor="t" anchorCtr="0">
            <a:noAutofit/>
          </a:bodyPr>
          <a:lstStyle/>
          <a:p>
            <a:r>
              <a:rPr lang="ru-RU" sz="560" dirty="0">
                <a:latin typeface="Calibri" panose="020F0502020204030204"/>
                <a:sym typeface="Calibri" panose="020F0502020204030204"/>
              </a:rPr>
              <a:t>Примерное описание компании</a:t>
            </a:r>
            <a:endParaRPr sz="685" dirty="0"/>
          </a:p>
        </p:txBody>
      </p:sp>
      <p:sp>
        <p:nvSpPr>
          <p:cNvPr id="87" name="Shape 288"/>
          <p:cNvSpPr/>
          <p:nvPr/>
        </p:nvSpPr>
        <p:spPr>
          <a:xfrm>
            <a:off x="5708750" y="2817434"/>
            <a:ext cx="367347" cy="367347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6646" tIns="23316" rIns="46646" bIns="23316" anchor="ctr" anchorCtr="0">
            <a:noAutofit/>
          </a:bodyPr>
          <a:lstStyle/>
          <a:p>
            <a:pPr algn="ctr"/>
            <a:r>
              <a:rPr lang="ru-RU" sz="560" dirty="0">
                <a:solidFill>
                  <a:schemeClr val="dk1"/>
                </a:solidFill>
                <a:latin typeface="Calibri" panose="020F0502020204030204"/>
                <a:sym typeface="Calibri" panose="020F0502020204030204"/>
              </a:rPr>
              <a:t>Лого</a:t>
            </a:r>
            <a:endParaRPr sz="560" dirty="0"/>
          </a:p>
        </p:txBody>
      </p:sp>
      <p:sp>
        <p:nvSpPr>
          <p:cNvPr id="89" name="Прямоугольник 88"/>
          <p:cNvSpPr/>
          <p:nvPr/>
        </p:nvSpPr>
        <p:spPr>
          <a:xfrm>
            <a:off x="5673382" y="3237068"/>
            <a:ext cx="3138294" cy="285878"/>
          </a:xfrm>
          <a:prstGeom prst="rect">
            <a:avLst/>
          </a:prstGeom>
        </p:spPr>
        <p:txBody>
          <a:bodyPr wrap="square" lIns="65309" tIns="32654" rIns="65309" bIns="32654">
            <a:spAutoFit/>
          </a:bodyPr>
          <a:lstStyle/>
          <a:p>
            <a:pPr>
              <a:spcBef>
                <a:spcPts val="430"/>
              </a:spcBef>
            </a:pPr>
            <a:r>
              <a:rPr lang="ru-RU" sz="1430" dirty="0"/>
              <a:t>Компании-соисполнители</a:t>
            </a:r>
            <a:endParaRPr lang="ru-RU" sz="1430" b="1" u="sng" dirty="0">
              <a:solidFill>
                <a:srgbClr val="232323"/>
              </a:solidFill>
              <a:latin typeface="Calibri" panose="020F0502020204030204"/>
              <a:ea typeface="Calibri" panose="020F0502020204030204"/>
              <a:cs typeface="Calibri" panose="020F0502020204030204"/>
            </a:endParaRPr>
          </a:p>
        </p:txBody>
      </p:sp>
      <p:sp>
        <p:nvSpPr>
          <p:cNvPr id="90" name="Shape 275"/>
          <p:cNvSpPr/>
          <p:nvPr/>
        </p:nvSpPr>
        <p:spPr>
          <a:xfrm>
            <a:off x="6143008" y="3619920"/>
            <a:ext cx="1303399" cy="2669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6646" tIns="23316" rIns="46646" bIns="23316" anchor="t" anchorCtr="0">
            <a:noAutofit/>
          </a:bodyPr>
          <a:lstStyle/>
          <a:p>
            <a:r>
              <a:rPr lang="ru-RU" sz="715" b="1" dirty="0"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ООО Техника</a:t>
            </a:r>
            <a:endParaRPr sz="665" dirty="0">
              <a:latin typeface="Calibri" panose="020F0502020204030204"/>
              <a:ea typeface="Calibri" panose="020F0502020204030204"/>
              <a:cs typeface="Calibri" panose="020F0502020204030204"/>
            </a:endParaRPr>
          </a:p>
        </p:txBody>
      </p:sp>
      <p:sp>
        <p:nvSpPr>
          <p:cNvPr id="91" name="Shape 280"/>
          <p:cNvSpPr/>
          <p:nvPr/>
        </p:nvSpPr>
        <p:spPr>
          <a:xfrm>
            <a:off x="6141649" y="3773198"/>
            <a:ext cx="1058549" cy="1782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6646" tIns="23316" rIns="46646" bIns="23316" anchor="t" anchorCtr="0">
            <a:noAutofit/>
          </a:bodyPr>
          <a:lstStyle/>
          <a:p>
            <a:r>
              <a:rPr lang="ru-RU" sz="560" dirty="0">
                <a:latin typeface="Calibri" panose="020F0502020204030204"/>
                <a:sym typeface="Calibri" panose="020F0502020204030204"/>
              </a:rPr>
              <a:t>Производит сборку оборудования</a:t>
            </a:r>
            <a:endParaRPr sz="685" dirty="0"/>
          </a:p>
        </p:txBody>
      </p:sp>
      <p:sp>
        <p:nvSpPr>
          <p:cNvPr id="92" name="Shape 288"/>
          <p:cNvSpPr/>
          <p:nvPr/>
        </p:nvSpPr>
        <p:spPr>
          <a:xfrm>
            <a:off x="5708750" y="3640714"/>
            <a:ext cx="367347" cy="367347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6646" tIns="23316" rIns="46646" bIns="23316" anchor="ctr" anchorCtr="0">
            <a:noAutofit/>
          </a:bodyPr>
          <a:lstStyle/>
          <a:p>
            <a:pPr algn="ctr"/>
            <a:r>
              <a:rPr lang="ru-RU" sz="560" dirty="0">
                <a:solidFill>
                  <a:schemeClr val="dk1"/>
                </a:solidFill>
                <a:latin typeface="Calibri" panose="020F0502020204030204"/>
                <a:sym typeface="Calibri" panose="020F0502020204030204"/>
              </a:rPr>
              <a:t>Лого</a:t>
            </a:r>
            <a:endParaRPr sz="560" dirty="0"/>
          </a:p>
        </p:txBody>
      </p:sp>
      <p:sp>
        <p:nvSpPr>
          <p:cNvPr id="93" name="Shape 275"/>
          <p:cNvSpPr/>
          <p:nvPr/>
        </p:nvSpPr>
        <p:spPr>
          <a:xfrm>
            <a:off x="7645504" y="3628778"/>
            <a:ext cx="1303399" cy="2669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6646" tIns="23316" rIns="46646" bIns="23316" anchor="t" anchorCtr="0">
            <a:noAutofit/>
          </a:bodyPr>
          <a:lstStyle/>
          <a:p>
            <a:r>
              <a:rPr lang="ru-RU" sz="715" b="1" dirty="0"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ООО Роботы</a:t>
            </a:r>
            <a:br>
              <a:rPr lang="ru-RU" sz="715" b="1" dirty="0"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</a:br>
            <a:endParaRPr sz="665" dirty="0">
              <a:latin typeface="Calibri" panose="020F0502020204030204"/>
              <a:ea typeface="Calibri" panose="020F0502020204030204"/>
              <a:cs typeface="Calibri" panose="020F0502020204030204"/>
            </a:endParaRPr>
          </a:p>
        </p:txBody>
      </p:sp>
      <p:sp>
        <p:nvSpPr>
          <p:cNvPr id="94" name="Shape 280"/>
          <p:cNvSpPr/>
          <p:nvPr/>
        </p:nvSpPr>
        <p:spPr>
          <a:xfrm>
            <a:off x="7644145" y="3796571"/>
            <a:ext cx="1267269" cy="2198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6646" tIns="23316" rIns="46646" bIns="23316" anchor="t" anchorCtr="0">
            <a:noAutofit/>
          </a:bodyPr>
          <a:lstStyle/>
          <a:p>
            <a:r>
              <a:rPr lang="ru-RU" sz="560" dirty="0">
                <a:latin typeface="Calibri" panose="020F0502020204030204"/>
                <a:sym typeface="Calibri" panose="020F0502020204030204"/>
              </a:rPr>
              <a:t>Разрабатывает алгоритмы </a:t>
            </a:r>
            <a:r>
              <a:rPr lang="en-US" sz="560" dirty="0">
                <a:latin typeface="Calibri" panose="020F0502020204030204"/>
                <a:sym typeface="Calibri" panose="020F0502020204030204"/>
              </a:rPr>
              <a:t>ML </a:t>
            </a:r>
            <a:endParaRPr sz="685" dirty="0"/>
          </a:p>
        </p:txBody>
      </p:sp>
      <p:sp>
        <p:nvSpPr>
          <p:cNvPr id="95" name="Shape 288"/>
          <p:cNvSpPr/>
          <p:nvPr/>
        </p:nvSpPr>
        <p:spPr>
          <a:xfrm>
            <a:off x="7211247" y="3622358"/>
            <a:ext cx="367347" cy="367347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6646" tIns="23316" rIns="46646" bIns="23316" anchor="ctr" anchorCtr="0">
            <a:noAutofit/>
          </a:bodyPr>
          <a:lstStyle/>
          <a:p>
            <a:pPr algn="ctr"/>
            <a:r>
              <a:rPr lang="ru-RU" sz="560" dirty="0">
                <a:solidFill>
                  <a:schemeClr val="dk1"/>
                </a:solidFill>
                <a:latin typeface="Calibri" panose="020F0502020204030204"/>
                <a:sym typeface="Calibri" panose="020F0502020204030204"/>
              </a:rPr>
              <a:t>Лого</a:t>
            </a:r>
            <a:endParaRPr sz="560" dirty="0"/>
          </a:p>
        </p:txBody>
      </p:sp>
      <p:sp>
        <p:nvSpPr>
          <p:cNvPr id="57" name="Shape 275"/>
          <p:cNvSpPr/>
          <p:nvPr/>
        </p:nvSpPr>
        <p:spPr>
          <a:xfrm>
            <a:off x="6273421" y="1899328"/>
            <a:ext cx="1585940" cy="373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r>
              <a:rPr lang="ru-RU" sz="1000" b="1" dirty="0" err="1" smtClean="0">
                <a:solidFill>
                  <a:srgbClr val="003462"/>
                </a:solidFill>
                <a:ea typeface="Calibri" panose="020F0502020204030204"/>
                <a:cs typeface="Calibri" panose="020F0502020204030204"/>
                <a:sym typeface="Calibri" panose="020F0502020204030204"/>
              </a:rPr>
              <a:t>Гуреев</a:t>
            </a:r>
            <a:r>
              <a:rPr lang="ru-RU" sz="1000" b="1" dirty="0" smtClean="0">
                <a:solidFill>
                  <a:srgbClr val="003462"/>
                </a:solidFill>
                <a:ea typeface="Calibri" panose="020F0502020204030204"/>
                <a:cs typeface="Calibri" panose="020F0502020204030204"/>
                <a:sym typeface="Calibri" panose="020F0502020204030204"/>
              </a:rPr>
              <a:t> Дмитрий</a:t>
            </a:r>
          </a:p>
          <a:p>
            <a:r>
              <a:rPr lang="ru-RU" sz="930" dirty="0">
                <a:ea typeface="Calibri" panose="020F0502020204030204"/>
                <a:cs typeface="Calibri" panose="020F0502020204030204"/>
                <a:sym typeface="Calibri" panose="020F0502020204030204"/>
              </a:rPr>
              <a:t>Технический специалист</a:t>
            </a:r>
            <a:endParaRPr sz="930" dirty="0">
              <a:latin typeface="Calibri" panose="020F0502020204030204"/>
              <a:ea typeface="Calibri" panose="020F0502020204030204"/>
              <a:cs typeface="Calibri" panose="020F0502020204030204"/>
            </a:endParaRPr>
          </a:p>
        </p:txBody>
      </p:sp>
      <p:sp>
        <p:nvSpPr>
          <p:cNvPr id="60" name="Shape 275"/>
          <p:cNvSpPr/>
          <p:nvPr/>
        </p:nvSpPr>
        <p:spPr>
          <a:xfrm>
            <a:off x="8009557" y="1922450"/>
            <a:ext cx="1585940" cy="373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r>
              <a:rPr lang="ru-RU" sz="1000" b="1" dirty="0" smtClean="0">
                <a:solidFill>
                  <a:srgbClr val="003462"/>
                </a:solidFill>
                <a:ea typeface="Calibri" panose="020F0502020204030204"/>
                <a:cs typeface="Calibri" panose="020F0502020204030204"/>
                <a:sym typeface="Calibri" panose="020F0502020204030204"/>
              </a:rPr>
              <a:t>Груздова Ольга</a:t>
            </a:r>
          </a:p>
          <a:p>
            <a:r>
              <a:rPr lang="ru-RU" sz="930" dirty="0">
                <a:ea typeface="Calibri" panose="020F0502020204030204"/>
                <a:cs typeface="Calibri" panose="020F0502020204030204"/>
                <a:sym typeface="Calibri" panose="020F0502020204030204"/>
              </a:rPr>
              <a:t>Технический специалист</a:t>
            </a:r>
            <a:endParaRPr sz="930" dirty="0">
              <a:latin typeface="Calibri" panose="020F0502020204030204"/>
              <a:ea typeface="Calibri" panose="020F0502020204030204"/>
              <a:cs typeface="Calibri" panose="020F0502020204030204"/>
            </a:endParaRPr>
          </a:p>
        </p:txBody>
      </p:sp>
      <p:sp>
        <p:nvSpPr>
          <p:cNvPr id="61" name="Shape 275"/>
          <p:cNvSpPr/>
          <p:nvPr/>
        </p:nvSpPr>
        <p:spPr>
          <a:xfrm>
            <a:off x="8009557" y="2273056"/>
            <a:ext cx="1585940" cy="373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r>
              <a:rPr lang="ru-RU" sz="1000" b="1" dirty="0" smtClean="0">
                <a:solidFill>
                  <a:srgbClr val="003462"/>
                </a:solidFill>
                <a:ea typeface="Calibri" panose="020F0502020204030204"/>
                <a:cs typeface="Calibri" panose="020F0502020204030204"/>
                <a:sym typeface="Calibri" panose="020F0502020204030204"/>
              </a:rPr>
              <a:t>Кузнецова Ксения</a:t>
            </a:r>
          </a:p>
          <a:p>
            <a:r>
              <a:rPr lang="ru-RU" sz="930" dirty="0">
                <a:ea typeface="Calibri" panose="020F0502020204030204"/>
                <a:cs typeface="Calibri" panose="020F0502020204030204"/>
                <a:sym typeface="Calibri" panose="020F0502020204030204"/>
              </a:rPr>
              <a:t>Экономический</a:t>
            </a:r>
            <a:r>
              <a:rPr lang="ru-RU" sz="930" dirty="0" smtClean="0">
                <a:ea typeface="Calibri" panose="020F0502020204030204"/>
                <a:cs typeface="Calibri" panose="020F0502020204030204"/>
                <a:sym typeface="Calibri" panose="020F0502020204030204"/>
              </a:rPr>
              <a:t> </a:t>
            </a:r>
            <a:r>
              <a:rPr lang="ru-RU" sz="930" dirty="0">
                <a:ea typeface="Calibri" panose="020F0502020204030204"/>
                <a:cs typeface="Calibri" panose="020F0502020204030204"/>
                <a:sym typeface="Calibri" panose="020F0502020204030204"/>
              </a:rPr>
              <a:t>специалист</a:t>
            </a:r>
            <a:endParaRPr sz="930" dirty="0">
              <a:latin typeface="Calibri" panose="020F0502020204030204"/>
              <a:ea typeface="Calibri" panose="020F0502020204030204"/>
              <a:cs typeface="Calibri" panose="020F0502020204030204"/>
            </a:endParaRPr>
          </a:p>
        </p:txBody>
      </p:sp>
      <p:sp>
        <p:nvSpPr>
          <p:cNvPr id="62" name="Shape 275"/>
          <p:cNvSpPr/>
          <p:nvPr/>
        </p:nvSpPr>
        <p:spPr>
          <a:xfrm>
            <a:off x="6308914" y="2273057"/>
            <a:ext cx="1585940" cy="373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r>
              <a:rPr lang="ru-RU" sz="1000" b="1" dirty="0" smtClean="0">
                <a:solidFill>
                  <a:srgbClr val="003462"/>
                </a:solidFill>
                <a:ea typeface="Calibri" panose="020F0502020204030204"/>
                <a:cs typeface="Calibri" panose="020F0502020204030204"/>
                <a:sym typeface="Calibri" panose="020F0502020204030204"/>
              </a:rPr>
              <a:t>Черкасова Софья</a:t>
            </a:r>
          </a:p>
          <a:p>
            <a:r>
              <a:rPr lang="ru-RU" sz="930" dirty="0" smtClean="0">
                <a:ea typeface="Calibri" panose="020F0502020204030204"/>
                <a:cs typeface="Calibri" panose="020F0502020204030204"/>
                <a:sym typeface="Calibri" panose="020F0502020204030204"/>
              </a:rPr>
              <a:t>Экономический </a:t>
            </a:r>
            <a:r>
              <a:rPr lang="ru-RU" sz="930" dirty="0">
                <a:ea typeface="Calibri" panose="020F0502020204030204"/>
                <a:cs typeface="Calibri" panose="020F0502020204030204"/>
                <a:sym typeface="Calibri" panose="020F0502020204030204"/>
              </a:rPr>
              <a:t>специалист</a:t>
            </a:r>
            <a:endParaRPr sz="930" dirty="0">
              <a:latin typeface="Calibri" panose="020F0502020204030204"/>
              <a:ea typeface="Calibri" panose="020F0502020204030204"/>
              <a:cs typeface="Calibri" panose="020F0502020204030204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Набор иконок для визуализации моделей</a:t>
            </a:r>
            <a:endParaRPr lang="ru-RU" b="1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t>09.11.2023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1220" y="6426078"/>
            <a:ext cx="2228850" cy="365125"/>
          </a:xfrm>
        </p:spPr>
        <p:txBody>
          <a:bodyPr/>
          <a:lstStyle/>
          <a:p>
            <a:fld id="{3EF660E9-E116-4F2D-91B7-27BAC0D3A970}" type="slidenum">
              <a:rPr lang="ru-RU" smtClean="0"/>
              <a:t>20</a:t>
            </a:fld>
            <a:endParaRPr lang="ru-RU" dirty="0"/>
          </a:p>
        </p:txBody>
      </p:sp>
      <p:pic>
        <p:nvPicPr>
          <p:cNvPr id="6" name="Picture 3" descr="C:\Users\pankratov.in\YandexDisk\!NTI\DOCS\ProjectPresentation\icons\PNG\256\2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4606" y="19431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C:\Users\pankratov.in\YandexDisk\!NTI\DOCS\ProjectPresentation\icons\PNG\256\3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5" descr="C:\Users\pankratov.in\YandexDisk\!NTI\DOCS\ProjectPresentation\icons\PNG\256\4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4606" y="28956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6" descr="C:\Users\pankratov.in\YandexDisk\!NTI\DOCS\ProjectPresentation\icons\PNG\256\5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8953" y="28956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7" descr="C:\Users\pankratov.in\YandexDisk\!NTI\DOCS\ProjectPresentation\icons\PNG\256\6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3906" y="28956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8" descr="C:\Users\pankratov.in\YandexDisk\!NTI\DOCS\ProjectPresentation\icons\PNG\256\7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7153" y="2946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9" descr="C:\Users\pankratov.in\YandexDisk\!NTI\DOCS\ProjectPresentation\icons\PNG\256\8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3553" y="28956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0" descr="C:\Users\pankratov.in\YandexDisk\!NTI\DOCS\ProjectPresentation\icons\PNG\256\9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7255" y="28956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1" descr="C:\Users\pankratov.in\YandexDisk\!NTI\DOCS\ProjectPresentation\icons\PNG\256\10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3655" y="28956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2" descr="C:\Users\pankratov.in\YandexDisk\!NTI\DOCS\ProjectPresentation\icons\PNG\256\11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28956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3" descr="C:\Users\pankratov.in\YandexDisk\!NTI\DOCS\ProjectPresentation\icons\PNG\256\12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8809" y="191770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4" descr="C:\Users\pankratov.in\YandexDisk\!NTI\DOCS\ProjectPresentation\icons\PNG\256\13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0456" y="19431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5" descr="C:\Users\pankratov.in\YandexDisk\!NTI\DOCS\ProjectPresentation\icons\PNG\256\14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0659" y="19431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6" descr="C:\Users\pankratov.in\YandexDisk\!NTI\DOCS\ProjectPresentation\icons\PNG\256\15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3906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7" descr="C:\Users\pankratov.in\YandexDisk\!NTI\DOCS\ProjectPresentation\icons\PNG\256\16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4455" y="19431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8" descr="C:\Users\pankratov.in\YandexDisk\!NTI\DOCS\ProjectPresentation\icons\PNG\256\17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3553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9" descr="C:\Users\pankratov.in\YandexDisk\!NTI\DOCS\ProjectPresentation\icons\PNG\256\18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7255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0" descr="C:\Users\pankratov.in\YandexDisk\!NTI\DOCS\ProjectPresentation\icons\PNG\256\19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3655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1" descr="C:\Users\pankratov.in\YandexDisk\!NTI\DOCS\ProjectPresentation\icons\PNG\256\20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2" descr="C:\Users\pankratov.in\YandexDisk\!NTI\DOCS\ProjectPresentation\icons\PNG\256\21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8353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3" descr="C:\Users\pankratov.in\YandexDisk\!NTI\DOCS\ProjectPresentation\icons\PNG\256\22.pn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0456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4" descr="C:\Users\pankratov.in\YandexDisk\!NTI\DOCS\ProjectPresentation\icons\PNG\256\23.pn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3354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5" descr="C:\Users\pankratov.in\YandexDisk\!NTI\DOCS\ProjectPresentation\icons\PNG\256\24.pn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8953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6" descr="C:\Users\pankratov.in\YandexDisk\!NTI\DOCS\ProjectPresentation\icons\PNG\256\25.png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3906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7" descr="C:\Users\pankratov.in\YandexDisk\!NTI\DOCS\ProjectPresentation\icons\PNG\256\26.png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7153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8" descr="C:\Users\pankratov.in\YandexDisk\!NTI\DOCS\ProjectPresentation\icons\PNG\256\27.png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3553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9" descr="C:\Users\pankratov.in\YandexDisk\!NTI\DOCS\ProjectPresentation\icons\PNG\256\28.png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7255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30" descr="C:\Users\pankratov.in\YandexDisk\!NTI\DOCS\ProjectPresentation\icons\PNG\256\29.png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3655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48" descr="C:\Users\pankratov.in\YandexDisk\!NTI\DOCS\ProjectPresentation\icons\PNG\256\128.png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38608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49" descr="C:\Users\pankratov.in\YandexDisk\!NTI\DOCS\ProjectPresentation\icons\PNG\256\129.png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8809" y="56769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50" descr="C:\Users\pankratov.in\YandexDisk\!NTI\DOCS\ProjectPresentation\icons\PNG\256\130.png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9009" y="56896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51" descr="C:\Users\pankratov.in\YandexDisk\!NTI\DOCS\ProjectPresentation\icons\PNG\256\131.png"/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3354" y="57023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52" descr="C:\Users\pankratov.in\YandexDisk\!NTI\DOCS\ProjectPresentation\icons\PNG\256\132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0659" y="57023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53" descr="C:\Users\pankratov.in\YandexDisk\!NTI\DOCS\ProjectPresentation\icons\PNG\256\133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3906" y="57023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54" descr="C:\Users\pankratov.in\YandexDisk\!NTI\DOCS\ProjectPresentation\icons\PNG\256\134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4262" y="57023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55" descr="C:\Users\pankratov.in\YandexDisk\!NTI\DOCS\ProjectPresentation\icons\PNG\256\135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3553" y="57023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56" descr="C:\Users\pankratov.in\YandexDisk\!NTI\DOCS\ProjectPresentation\icons\PNG\256\136.png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9309" y="57023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57" descr="C:\Users\pankratov.in\YandexDisk\!NTI\DOCS\ProjectPresentation\icons\PNG\256\137.png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3655" y="57023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58" descr="C:\Users\pankratov.in\YandexDisk\!NTI\DOCS\ProjectPresentation\icons\PNG\256\138.png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57023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59" descr="C:\Users\pankratov.in\YandexDisk\!NTI\DOCS\ProjectPresentation\icons\PNG\256\139.png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8809" y="47498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60" descr="C:\Users\pankratov.in\YandexDisk\!NTI\DOCS\ProjectPresentation\icons\PNG\256\140.png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9009" y="47625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61" descr="C:\Users\pankratov.in\YandexDisk\!NTI\DOCS\ProjectPresentation\icons\PNG\256\141.png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3354" y="4711701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62" descr="C:\Users\pankratov.in\YandexDisk\!NTI\DOCS\ProjectPresentation\icons\PNG\256\142.png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0659" y="47752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63" descr="C:\Users\pankratov.in\YandexDisk\!NTI\DOCS\ProjectPresentation\icons\PNG\256\143.png"/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6262" y="47498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64" descr="C:\Users\pankratov.in\YandexDisk\!NTI\DOCS\ProjectPresentation\icons\PNG\256\144.png"/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5553" y="47752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65" descr="C:\Users\pankratov.in\YandexDisk\!NTI\DOCS\ProjectPresentation\icons\PNG\256\145.png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3553" y="480060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66" descr="C:\Users\pankratov.in\YandexDisk\!NTI\DOCS\ProjectPresentation\icons\PNG\256\146.png"/>
          <p:cNvPicPr>
            <a:picLocks noChangeAspect="1" noChangeArrowheads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7255" y="47752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67" descr="C:\Users\pankratov.in\YandexDisk\!NTI\DOCS\ProjectPresentation\icons\PNG\256\147.png"/>
          <p:cNvPicPr>
            <a:picLocks noChangeAspect="1" noChangeArrowheads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3655" y="4711701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68" descr="C:\Users\pankratov.in\YandexDisk\!NTI\DOCS\ProjectPresentation\icons\PNG\256\148.png"/>
          <p:cNvPicPr>
            <a:picLocks noChangeAspect="1" noChangeArrowheads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480060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69" descr="C:\Users\pankratov.in\YandexDisk\!NTI\DOCS\ProjectPresentation\icons\PNG\256\149.png"/>
          <p:cNvPicPr>
            <a:picLocks noChangeAspect="1" noChangeArrowheads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8809" y="39243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70" descr="C:\Users\pankratov.in\YandexDisk\!NTI\DOCS\ProjectPresentation\icons\PNG\256\150.png"/>
          <p:cNvPicPr>
            <a:picLocks noChangeAspect="1" noChangeArrowheads="1"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9009" y="38608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71" descr="C:\Users\pankratov.in\YandexDisk\!NTI\DOCS\ProjectPresentation\icons\PNG\256\151.png"/>
          <p:cNvPicPr>
            <a:picLocks noChangeAspect="1" noChangeArrowheads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3354" y="38608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72" descr="C:\Users\pankratov.in\YandexDisk\!NTI\DOCS\ProjectPresentation\icons\PNG\256\152.png"/>
          <p:cNvPicPr>
            <a:picLocks noChangeAspect="1" noChangeArrowheads="1"/>
          </p:cNvPicPr>
          <p:nvPr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8953" y="38608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73" descr="C:\Users\pankratov.in\YandexDisk\!NTI\DOCS\ProjectPresentation\icons\PNG\256\153.png"/>
          <p:cNvPicPr>
            <a:picLocks noChangeAspect="1" noChangeArrowheads="1"/>
          </p:cNvPicPr>
          <p:nvPr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3906" y="38608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74" descr="C:\Users\pankratov.in\YandexDisk\!NTI\DOCS\ProjectPresentation\icons\PNG\256\154.png"/>
          <p:cNvPicPr>
            <a:picLocks noChangeAspect="1" noChangeArrowheads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4455" y="38608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75" descr="C:\Users\pankratov.in\YandexDisk\!NTI\DOCS\ProjectPresentation\icons\PNG\256\155.png"/>
          <p:cNvPicPr>
            <a:picLocks noChangeAspect="1" noChangeArrowheads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9256" y="38608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76" descr="C:\Users\pankratov.in\YandexDisk\!NTI\DOCS\ProjectPresentation\icons\PNG\256\156.png"/>
          <p:cNvPicPr>
            <a:picLocks noChangeAspect="1" noChangeArrowheads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7255" y="38608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77" descr="C:\Users\pankratov.in\YandexDisk\!NTI\DOCS\ProjectPresentation\icons\PNG\256\157.png"/>
          <p:cNvPicPr>
            <a:picLocks noChangeAspect="1" noChangeArrowheads="1"/>
          </p:cNvPicPr>
          <p:nvPr/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3655" y="38608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78" descr="C:\Users\pankratov.in\YandexDisk\!NTI\DOCS\ProjectPresentation\icons\PNG\256\158.png"/>
          <p:cNvPicPr>
            <a:picLocks noChangeAspect="1" noChangeArrowheads="1"/>
          </p:cNvPicPr>
          <p:nvPr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8809" y="28956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79" descr="C:\Users\pankratov.in\YandexDisk\!NTI\DOCS\ProjectPresentation\icons\PNG\256\159.png"/>
          <p:cNvPicPr>
            <a:picLocks noChangeAspect="1" noChangeArrowheads="1"/>
          </p:cNvPicPr>
          <p:nvPr/>
        </p:nvPicPr>
        <p:blipFill>
          <a:blip r:embed="rId6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0456" y="28956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Набор иконок для визуализации моделей</a:t>
            </a:r>
            <a:endParaRPr lang="ru-RU" b="1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t>09.11.2023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1220" y="6426078"/>
            <a:ext cx="2228850" cy="365125"/>
          </a:xfrm>
        </p:spPr>
        <p:txBody>
          <a:bodyPr/>
          <a:lstStyle/>
          <a:p>
            <a:fld id="{3EF660E9-E116-4F2D-91B7-27BAC0D3A970}" type="slidenum">
              <a:rPr lang="ru-RU" smtClean="0"/>
              <a:t>21</a:t>
            </a:fld>
            <a:endParaRPr lang="ru-RU" dirty="0"/>
          </a:p>
        </p:txBody>
      </p:sp>
      <p:pic>
        <p:nvPicPr>
          <p:cNvPr id="6" name="Picture 2" descr="C:\Users\pankratov.in\YandexDisk\!NTI\DOCS\ProjectPresentation\icons\PNG\256\48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9724" y="188798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3" descr="C:\Users\pankratov.in\YandexDisk\!NTI\DOCS\ProjectPresentation\icons\PNG\256\401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4386" y="279869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C:\Users\pankratov.in\YandexDisk\!NTI\DOCS\ProjectPresentation\icons\PNG\256\402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5577" y="372148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5" descr="C:\Users\pankratov.in\YandexDisk\!NTI\DOCS\ProjectPresentation\icons\PNG\256\403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567" y="9481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6" descr="C:\Users\pankratov.in\YandexDisk\!NTI\DOCS\ProjectPresentation\icons\PNG\256\404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1139" y="45942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7" descr="C:\Users\pankratov.in\YandexDisk\!NTI\DOCS\ProjectPresentation\icons\PNG\256\405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9937" y="45942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8" descr="C:\Users\pankratov.in\YandexDisk\!NTI\DOCS\ProjectPresentation\icons\PNG\256\406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4567" y="45942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9" descr="C:\Users\pankratov.in\YandexDisk\!NTI\DOCS\ProjectPresentation\icons\PNG\256\407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5577" y="45942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0" descr="C:\Users\pankratov.in\YandexDisk\!NTI\DOCS\ProjectPresentation\icons\PNG\256\408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367" y="45942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1" descr="C:\Users\pankratov.in\YandexDisk\!NTI\DOCS\ProjectPresentation\icons\PNG\256\409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2803" y="37343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2" descr="C:\Users\pankratov.in\YandexDisk\!NTI\DOCS\ProjectPresentation\icons\PNG\256\410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7613" y="37343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3" descr="C:\Users\pankratov.in\YandexDisk\!NTI\DOCS\ProjectPresentation\icons\PNG\256\411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2833" y="372148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4" descr="C:\Users\pankratov.in\YandexDisk\!NTI\DOCS\ProjectPresentation\icons\PNG\256\412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7488" y="372148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5" descr="C:\Users\pankratov.in\YandexDisk\!NTI\DOCS\ProjectPresentation\icons\PNG\256\413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4386" y="372148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6" descr="C:\Users\pankratov.in\YandexDisk\!NTI\DOCS\ProjectPresentation\icons\PNG\256\414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9996" y="372148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7" descr="C:\Users\pankratov.in\YandexDisk\!NTI\DOCS\ProjectPresentation\icons\PNG\256\415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1748" y="372148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8" descr="C:\Users\pankratov.in\YandexDisk\!NTI\DOCS\ProjectPresentation\icons\PNG\256\416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3434" y="372148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19" descr="C:\Users\pankratov.in\YandexDisk\!NTI\DOCS\ProjectPresentation\icons\PNG\256\417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967" y="372148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0" descr="C:\Users\pankratov.in\YandexDisk\!NTI\DOCS\ProjectPresentation\icons\PNG\256\418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3903" y="28277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1" descr="C:\Users\pankratov.in\YandexDisk\!NTI\DOCS\ProjectPresentation\icons\PNG\256\419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7801" y="279869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2" descr="C:\Users\pankratov.in\YandexDisk\!NTI\DOCS\ProjectPresentation\icons\PNG\256\420.pn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2833" y="279869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3" descr="C:\Users\pankratov.in\YandexDisk\!NTI\DOCS\ProjectPresentation\icons\PNG\256\421.pn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2431" y="28277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4" descr="C:\Users\pankratov.in\YandexDisk\!NTI\DOCS\ProjectPresentation\icons\PNG\256\422.pn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4327" y="279869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5" descr="C:\Users\pankratov.in\YandexDisk\!NTI\DOCS\ProjectPresentation\icons\PNG\256\423.png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5736" y="28277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6" descr="C:\Users\pankratov.in\YandexDisk\!NTI\DOCS\ProjectPresentation\icons\PNG\256\424.png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1867" y="28277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7" descr="C:\Users\pankratov.in\YandexDisk\!NTI\DOCS\ProjectPresentation\icons\PNG\256\425.png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6179" y="28277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8" descr="C:\Users\pankratov.in\YandexDisk\!NTI\DOCS\ProjectPresentation\icons\PNG\256\426.png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567" y="28277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9" descr="C:\Users\pankratov.in\YandexDisk\!NTI\DOCS\ProjectPresentation\icons\PNG\256\427.png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6767" y="188798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30" descr="C:\Users\pankratov.in\YandexDisk\!NTI\DOCS\ProjectPresentation\icons\PNG\256\428.png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9123" y="188798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1" descr="C:\Users\pankratov.in\YandexDisk\!NTI\DOCS\ProjectPresentation\icons\PNG\256\429.png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4921" y="188798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32" descr="C:\Users\pankratov.in\YandexDisk\!NTI\DOCS\ProjectPresentation\icons\PNG\256\430.png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2431" y="188798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33" descr="C:\Users\pankratov.in\YandexDisk\!NTI\DOCS\ProjectPresentation\icons\PNG\256\431.png"/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7429" y="188798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34" descr="C:\Users\pankratov.in\YandexDisk\!NTI\DOCS\ProjectPresentation\icons\PNG\256\432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4327" y="188798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35" descr="C:\Users\pankratov.in\YandexDisk\!NTI\DOCS\ProjectPresentation\icons\PNG\256\433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4567" y="188798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36" descr="C:\Users\pankratov.in\YandexDisk\!NTI\DOCS\ProjectPresentation\icons\PNG\256\434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3657" y="19260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37" descr="C:\Users\pankratov.in\YandexDisk\!NTI\DOCS\ProjectPresentation\icons\PNG\256\435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567" y="19260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38" descr="C:\Users\pankratov.in\YandexDisk\!NTI\DOCS\ProjectPresentation\icons\PNG\256\436.png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6767" y="9481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39" descr="C:\Users\pankratov.in\YandexDisk\!NTI\DOCS\ProjectPresentation\icons\PNG\256\437.png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9123" y="9481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40" descr="C:\Users\pankratov.in\YandexDisk\!NTI\DOCS\ProjectPresentation\icons\PNG\256\438.png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4921" y="9481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41" descr="C:\Users\pankratov.in\YandexDisk\!NTI\DOCS\ProjectPresentation\icons\PNG\256\439.png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5131" y="9481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42" descr="C:\Users\pankratov.in\YandexDisk\!NTI\DOCS\ProjectPresentation\icons\PNG\256\440.png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7429" y="9481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43" descr="C:\Users\pankratov.in\YandexDisk\!NTI\DOCS\ProjectPresentation\icons\PNG\256\441.png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4327" y="9481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44" descr="C:\Users\pankratov.in\YandexDisk\!NTI\DOCS\ProjectPresentation\icons\PNG\256\442.png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7237" y="9481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45" descr="C:\Users\pankratov.in\YandexDisk\!NTI\DOCS\ProjectPresentation\icons\PNG\256\443.png"/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1867" y="9481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46" descr="C:\Users\pankratov.in\YandexDisk\!NTI\DOCS\ProjectPresentation\icons\PNG\256\444.png"/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3657" y="9481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32520" y="207927"/>
            <a:ext cx="1763624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5" b="1" dirty="0" smtClean="0"/>
              <a:t>Актуальность проекта</a:t>
            </a:r>
            <a:endParaRPr lang="ru-RU" sz="1285" b="1" dirty="0"/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381000" y="754417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361820" y="-17097"/>
            <a:ext cx="8053358" cy="3207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9370" marR="18415">
              <a:lnSpc>
                <a:spcPct val="112000"/>
              </a:lnSpc>
              <a:spcBef>
                <a:spcPts val="630"/>
              </a:spcBef>
            </a:pPr>
            <a:r>
              <a:rPr lang="ru-RU" sz="1400" b="1" cap="all" dirty="0"/>
              <a:t>ОРГАНИЗАЦИЯ СИСТЕМЫ КОГНИТИВНОГО РАДИО НА ПЛАТФОРМЕ ИМЕЮЩИХСЯ ТЕХНОЛОГИЙ В РФ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690395" y="1063023"/>
            <a:ext cx="8485576" cy="4979189"/>
          </a:xfrm>
          <a:prstGeom prst="roundRect">
            <a:avLst>
              <a:gd name="adj" fmla="val 2129"/>
            </a:avLst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ru-RU" sz="1285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914400" y="1354667"/>
            <a:ext cx="8261571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Ограничения создаваемые регуляторами вдобавок к неэффективности использования всего задействованного спектра </a:t>
            </a:r>
            <a:r>
              <a:rPr lang="ru-RU" b="1" dirty="0" smtClean="0"/>
              <a:t>частот являются довольно серьезными проблемами. Одним из возможных решений является система, автоматически оценивающая спектр и подстраивающая саму себя под заданные требования – система когнитивного радио.  Теоретическая база этой идеи ведется с 2000х годов, и по тенденциям наблюдаемым в англоязычных статьях, дело переходит к практической реализации, потому так важно привнести эту идею в информационное поле РФ. </a:t>
            </a:r>
            <a:endParaRPr lang="ru-RU" b="1" dirty="0"/>
          </a:p>
          <a:p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32520" y="207927"/>
            <a:ext cx="918008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5" b="1" dirty="0" smtClean="0"/>
              <a:t>Проблема</a:t>
            </a:r>
            <a:endParaRPr lang="ru-RU" sz="1285" b="1" dirty="0"/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381000" y="754417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361820" y="-17097"/>
            <a:ext cx="8890635" cy="3619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9370" marR="18415" algn="l">
              <a:lnSpc>
                <a:spcPct val="112000"/>
              </a:lnSpc>
              <a:spcBef>
                <a:spcPts val="630"/>
              </a:spcBef>
            </a:pPr>
            <a:r>
              <a:rPr lang="ru-RU" sz="1570" b="1" cap="all" dirty="0">
                <a:sym typeface="+mn-ea"/>
              </a:rPr>
              <a:t>ОРГАНИЗАЦИЯ СИСТЕМЫ КОГНИТИВНОГО РАДИО НА ПЛАТФОРМЕ ИМЕЮЩИХСЯ ТЕХНОЛОГИЙ В РФ</a:t>
            </a:r>
            <a:endParaRPr lang="ru-RU" sz="1570" dirty="0"/>
          </a:p>
        </p:txBody>
      </p:sp>
      <p:sp>
        <p:nvSpPr>
          <p:cNvPr id="6" name="Текст 10"/>
          <p:cNvSpPr txBox="1"/>
          <p:nvPr/>
        </p:nvSpPr>
        <p:spPr>
          <a:xfrm>
            <a:off x="381312" y="857216"/>
            <a:ext cx="4320000" cy="5578808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txBody>
          <a:bodyPr/>
          <a:lstStyle>
            <a:lvl1pPr marL="210185" indent="-210185" algn="l" defTabSz="840105" rtl="0" eaLnBrk="1" latinLnBrk="0" hangingPunct="1">
              <a:lnSpc>
                <a:spcPct val="90000"/>
              </a:lnSpc>
              <a:spcBef>
                <a:spcPts val="920"/>
              </a:spcBef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9920" indent="-210185" algn="l" defTabSz="840105" rtl="0" eaLnBrk="1" latinLnBrk="0" hangingPunct="1">
              <a:lnSpc>
                <a:spcPct val="90000"/>
              </a:lnSpc>
              <a:spcBef>
                <a:spcPts val="46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9655" indent="-210185" algn="l" defTabSz="840105" rtl="0" eaLnBrk="1" latinLnBrk="0" hangingPunct="1">
              <a:lnSpc>
                <a:spcPct val="90000"/>
              </a:lnSpc>
              <a:spcBef>
                <a:spcPts val="46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70025" indent="-210185" algn="l" defTabSz="840105" rtl="0" eaLnBrk="1" latinLnBrk="0" hangingPunct="1">
              <a:lnSpc>
                <a:spcPct val="90000"/>
              </a:lnSpc>
              <a:spcBef>
                <a:spcPts val="46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89760" indent="-210185" algn="l" defTabSz="840105" rtl="0" eaLnBrk="1" latinLnBrk="0" hangingPunct="1">
              <a:lnSpc>
                <a:spcPct val="90000"/>
              </a:lnSpc>
              <a:spcBef>
                <a:spcPts val="46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9495" indent="-210185" algn="l" defTabSz="840105" rtl="0" eaLnBrk="1" latinLnBrk="0" hangingPunct="1">
              <a:lnSpc>
                <a:spcPct val="90000"/>
              </a:lnSpc>
              <a:spcBef>
                <a:spcPts val="46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29865" indent="-210185" algn="l" defTabSz="840105" rtl="0" eaLnBrk="1" latinLnBrk="0" hangingPunct="1">
              <a:lnSpc>
                <a:spcPct val="90000"/>
              </a:lnSpc>
              <a:spcBef>
                <a:spcPts val="46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49600" indent="-210185" algn="l" defTabSz="840105" rtl="0" eaLnBrk="1" latinLnBrk="0" hangingPunct="1">
              <a:lnSpc>
                <a:spcPct val="90000"/>
              </a:lnSpc>
              <a:spcBef>
                <a:spcPts val="46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69335" indent="-210185" algn="l" defTabSz="840105" rtl="0" eaLnBrk="1" latinLnBrk="0" hangingPunct="1">
              <a:lnSpc>
                <a:spcPct val="90000"/>
              </a:lnSpc>
              <a:spcBef>
                <a:spcPts val="46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285" b="1" dirty="0">
                <a:solidFill>
                  <a:schemeClr val="accent1">
                    <a:lumMod val="50000"/>
                  </a:schemeClr>
                </a:solidFill>
              </a:rPr>
              <a:t>Планируется установка данной системы на передатчики сотовых операторов, что позволит кратно увеличить согласованность и скорость передачи Wi-Fi</a:t>
            </a:r>
            <a:r>
              <a:rPr lang="en-US" altLang="ru-RU" sz="1285" b="1" dirty="0">
                <a:solidFill>
                  <a:schemeClr val="accent1">
                    <a:lumMod val="50000"/>
                  </a:schemeClr>
                </a:solidFill>
              </a:rPr>
              <a:t>.</a:t>
            </a:r>
          </a:p>
        </p:txBody>
      </p:sp>
      <p:sp>
        <p:nvSpPr>
          <p:cNvPr id="9" name="Текст 15"/>
          <p:cNvSpPr txBox="1"/>
          <p:nvPr/>
        </p:nvSpPr>
        <p:spPr>
          <a:xfrm>
            <a:off x="5127812" y="857851"/>
            <a:ext cx="4320000" cy="5578808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txBody>
          <a:bodyPr/>
          <a:lstStyle>
            <a:lvl1pPr marL="210185" indent="-210185" algn="l" defTabSz="840105" rtl="0" eaLnBrk="1" latinLnBrk="0" hangingPunct="1">
              <a:lnSpc>
                <a:spcPct val="90000"/>
              </a:lnSpc>
              <a:spcBef>
                <a:spcPts val="920"/>
              </a:spcBef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9920" indent="-210185" algn="l" defTabSz="840105" rtl="0" eaLnBrk="1" latinLnBrk="0" hangingPunct="1">
              <a:lnSpc>
                <a:spcPct val="90000"/>
              </a:lnSpc>
              <a:spcBef>
                <a:spcPts val="46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9655" indent="-210185" algn="l" defTabSz="840105" rtl="0" eaLnBrk="1" latinLnBrk="0" hangingPunct="1">
              <a:lnSpc>
                <a:spcPct val="90000"/>
              </a:lnSpc>
              <a:spcBef>
                <a:spcPts val="46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70025" indent="-210185" algn="l" defTabSz="840105" rtl="0" eaLnBrk="1" latinLnBrk="0" hangingPunct="1">
              <a:lnSpc>
                <a:spcPct val="90000"/>
              </a:lnSpc>
              <a:spcBef>
                <a:spcPts val="46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89760" indent="-210185" algn="l" defTabSz="840105" rtl="0" eaLnBrk="1" latinLnBrk="0" hangingPunct="1">
              <a:lnSpc>
                <a:spcPct val="90000"/>
              </a:lnSpc>
              <a:spcBef>
                <a:spcPts val="46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9495" indent="-210185" algn="l" defTabSz="840105" rtl="0" eaLnBrk="1" latinLnBrk="0" hangingPunct="1">
              <a:lnSpc>
                <a:spcPct val="90000"/>
              </a:lnSpc>
              <a:spcBef>
                <a:spcPts val="46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29865" indent="-210185" algn="l" defTabSz="840105" rtl="0" eaLnBrk="1" latinLnBrk="0" hangingPunct="1">
              <a:lnSpc>
                <a:spcPct val="90000"/>
              </a:lnSpc>
              <a:spcBef>
                <a:spcPts val="46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49600" indent="-210185" algn="l" defTabSz="840105" rtl="0" eaLnBrk="1" latinLnBrk="0" hangingPunct="1">
              <a:lnSpc>
                <a:spcPct val="90000"/>
              </a:lnSpc>
              <a:spcBef>
                <a:spcPts val="46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69335" indent="-210185" algn="l" defTabSz="840105" rtl="0" eaLnBrk="1" latinLnBrk="0" hangingPunct="1">
              <a:lnSpc>
                <a:spcPct val="90000"/>
              </a:lnSpc>
              <a:spcBef>
                <a:spcPts val="46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ru-RU" sz="1285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10893" y="207927"/>
            <a:ext cx="2564676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5" b="1" dirty="0"/>
              <a:t>Описание продукта и технологии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381000" y="754417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361820" y="-17097"/>
            <a:ext cx="8890635" cy="3619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9370" marR="18415" algn="l">
              <a:lnSpc>
                <a:spcPct val="112000"/>
              </a:lnSpc>
              <a:spcBef>
                <a:spcPts val="630"/>
              </a:spcBef>
            </a:pPr>
            <a:r>
              <a:rPr lang="ru-RU" sz="1570" b="1" cap="all" dirty="0">
                <a:sym typeface="+mn-ea"/>
              </a:rPr>
              <a:t>ОРГАНИЗАЦИЯ СИСТЕМЫ КОГНИТИВНОГО РАДИО НА ПЛАТФОРМЕ ИМЕЮЩИХСЯ ТЕХНОЛОГИЙ В РФ</a:t>
            </a:r>
            <a:endParaRPr lang="ru-RU" sz="1570" dirty="0"/>
          </a:p>
        </p:txBody>
      </p:sp>
      <p:sp>
        <p:nvSpPr>
          <p:cNvPr id="3" name="TextBox 2"/>
          <p:cNvSpPr txBox="1"/>
          <p:nvPr/>
        </p:nvSpPr>
        <p:spPr>
          <a:xfrm>
            <a:off x="1530796" y="825139"/>
            <a:ext cx="1555682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5" dirty="0"/>
              <a:t>Описание продукта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4901566" y="754417"/>
            <a:ext cx="0" cy="6103583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6159882" y="826672"/>
            <a:ext cx="1568571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5" dirty="0"/>
              <a:t>Технология проекта</a:t>
            </a: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5073509" y="1165892"/>
            <a:ext cx="4225230" cy="5378343"/>
          </a:xfrm>
          <a:prstGeom prst="roundRect">
            <a:avLst>
              <a:gd name="adj" fmla="val 2129"/>
            </a:avLst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285" b="1" dirty="0">
                <a:solidFill>
                  <a:schemeClr val="accent1">
                    <a:lumMod val="50000"/>
                  </a:schemeClr>
                </a:solidFill>
              </a:rPr>
              <a:t>Прототип системы когнитивного радио может быть создан на основе использования программно-определяемого радио (Software-Defined Radio, SDR) и технологии спектрального сканирования, технологии uwb антенн. </a:t>
            </a:r>
          </a:p>
          <a:p>
            <a:r>
              <a:rPr lang="ru-RU" sz="1285" b="1" dirty="0">
                <a:solidFill>
                  <a:schemeClr val="accent1">
                    <a:lumMod val="50000"/>
                  </a:schemeClr>
                </a:solidFill>
              </a:rPr>
              <a:t>SDR позволяет изменять параметры радиосистемы, такие как частота, полоса пропускания и модуляция, программным образом. Это позволяет адаптировать работу радиосистемы к существующему спектру частот и изменяющимся условиям работы. Технология спектрального сканирования позволяет определять свободные участки спектра частот и автоматически выбирать оптимальные параметры работы радиосистемы.</a:t>
            </a:r>
          </a:p>
          <a:p>
            <a:r>
              <a:rPr lang="ru-RU" sz="1285" b="1" dirty="0">
                <a:solidFill>
                  <a:schemeClr val="accent1">
                    <a:lumMod val="50000"/>
                  </a:schemeClr>
                </a:solidFill>
              </a:rPr>
              <a:t>Ультра широкополосные антенны являются неотъемлемой частью системы, что связано с потребностью в покрытии большего диапазона частот.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530017" y="1165891"/>
            <a:ext cx="4225230" cy="5378343"/>
          </a:xfrm>
          <a:prstGeom prst="roundRect">
            <a:avLst>
              <a:gd name="adj" fmla="val 2129"/>
            </a:avLst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285" b="1" dirty="0">
                <a:solidFill>
                  <a:schemeClr val="accent1">
                    <a:lumMod val="50000"/>
                  </a:schemeClr>
                </a:solidFill>
              </a:rPr>
              <a:t>Система когнитивного радио, направленная на диапазон частот wifi, которая позволяет более эффективно использовать имеющийся частотный ресурс</a:t>
            </a:r>
            <a:r>
              <a:rPr lang="ru-RU" sz="1285" dirty="0">
                <a:solidFill>
                  <a:schemeClr val="accent1">
                    <a:lumMod val="50000"/>
                  </a:schemeClr>
                </a:solidFill>
              </a:rPr>
              <a:t>.</a:t>
            </a:r>
            <a:br>
              <a:rPr lang="ru-RU" sz="1285" dirty="0">
                <a:solidFill>
                  <a:schemeClr val="accent1">
                    <a:lumMod val="50000"/>
                  </a:schemeClr>
                </a:solidFill>
              </a:rPr>
            </a:br>
            <a:r>
              <a:rPr lang="ru-RU" sz="1285" b="1" dirty="0">
                <a:solidFill>
                  <a:schemeClr val="accent1">
                    <a:lumMod val="50000"/>
                  </a:schemeClr>
                </a:solidFill>
              </a:rPr>
              <a:t>Планируется установка данной системы на передатчики сотовых операторов, что позволит кратно увеличить согласованность и скорость передачи Wi-Fi</a:t>
            </a:r>
            <a:r>
              <a:rPr lang="en-US" altLang="ru-RU" sz="1285" b="1" dirty="0">
                <a:solidFill>
                  <a:schemeClr val="accent1">
                    <a:lumMod val="50000"/>
                  </a:schemeClr>
                </a:solidFill>
              </a:rPr>
              <a:t>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32520" y="207927"/>
            <a:ext cx="1261884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5" b="1" dirty="0"/>
              <a:t>Рынок проекта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381000" y="754417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361820" y="-17097"/>
            <a:ext cx="8890635" cy="3619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9370" marR="18415" algn="l">
              <a:lnSpc>
                <a:spcPct val="112000"/>
              </a:lnSpc>
              <a:spcBef>
                <a:spcPts val="630"/>
              </a:spcBef>
            </a:pPr>
            <a:r>
              <a:rPr lang="ru-RU" sz="1570" b="1" cap="all" dirty="0">
                <a:sym typeface="+mn-ea"/>
              </a:rPr>
              <a:t>ОРГАНИЗАЦИЯ СИСТЕМЫ КОГНИТИВНОГО РАДИО НА ПЛАТФОРМЕ ИМЕЮЩИХСЯ ТЕХНОЛОГИЙ В РФ</a:t>
            </a:r>
            <a:endParaRPr lang="ru-RU" sz="1570" dirty="0"/>
          </a:p>
        </p:txBody>
      </p:sp>
      <p:sp>
        <p:nvSpPr>
          <p:cNvPr id="18" name="TextBox 17"/>
          <p:cNvSpPr txBox="1"/>
          <p:nvPr/>
        </p:nvSpPr>
        <p:spPr>
          <a:xfrm>
            <a:off x="915386" y="1301318"/>
            <a:ext cx="4397679" cy="187320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5" b="1" dirty="0"/>
              <a:t>Целевые рынки</a:t>
            </a:r>
          </a:p>
          <a:p>
            <a:endParaRPr lang="ru-RU" sz="1285" b="1" dirty="0"/>
          </a:p>
          <a:p>
            <a:pPr marL="245110" indent="-245110">
              <a:buFontTx/>
              <a:buChar char="-"/>
            </a:pPr>
            <a:r>
              <a:rPr lang="ru-RU" sz="1285" dirty="0"/>
              <a:t>Описание рынков</a:t>
            </a:r>
          </a:p>
          <a:p>
            <a:pPr marL="245110" indent="-245110">
              <a:buFontTx/>
              <a:buChar char="-"/>
            </a:pPr>
            <a:endParaRPr lang="ru-RU" sz="1285" dirty="0"/>
          </a:p>
          <a:p>
            <a:pPr marL="245110" indent="-245110">
              <a:buFontTx/>
              <a:buChar char="-"/>
            </a:pPr>
            <a:r>
              <a:rPr lang="ru-RU" sz="1285" dirty="0"/>
              <a:t>Динамика рынков</a:t>
            </a:r>
          </a:p>
          <a:p>
            <a:pPr marL="245110" indent="-245110">
              <a:buFontTx/>
              <a:buChar char="-"/>
            </a:pPr>
            <a:endParaRPr lang="ru-RU" sz="1285" dirty="0"/>
          </a:p>
          <a:p>
            <a:pPr marL="245110" indent="-245110">
              <a:buFontTx/>
              <a:buChar char="-"/>
            </a:pPr>
            <a:r>
              <a:rPr lang="ru-RU" sz="1285" dirty="0"/>
              <a:t>Целевая доля рынков, которую планирует занять проект</a:t>
            </a:r>
          </a:p>
          <a:p>
            <a:pPr marL="245110" indent="-245110">
              <a:buFontTx/>
              <a:buChar char="-"/>
            </a:pPr>
            <a:endParaRPr lang="ru-RU" sz="1285" dirty="0"/>
          </a:p>
          <a:p>
            <a:pPr marL="245110" indent="-245110">
              <a:buFontTx/>
              <a:buChar char="-"/>
            </a:pPr>
            <a:r>
              <a:rPr lang="ru-RU" sz="1285" dirty="0"/>
              <a:t>Барьеры для выхода на целевые рынки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32520" y="207927"/>
            <a:ext cx="1055995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5" b="1" dirty="0"/>
              <a:t>Конкуренты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381000" y="754417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361820" y="48"/>
            <a:ext cx="8851265" cy="57340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ru-RU" sz="1570" b="1" cap="all" dirty="0">
                <a:sym typeface="+mn-ea"/>
              </a:rPr>
              <a:t>ОРГАНИЗАЦИЯ СИСТЕМЫ КОГНИТИВНОГО РАДИО НА ПЛАТФОРМЕ ИМЕЮЩИХСЯ ТЕХНОЛОГИЙ В РФ</a:t>
            </a:r>
            <a:endParaRPr lang="ru-RU" sz="1570" dirty="0"/>
          </a:p>
          <a:p>
            <a:pPr algn="l"/>
            <a:endParaRPr lang="ru-RU" sz="1570" dirty="0"/>
          </a:p>
        </p:txBody>
      </p:sp>
      <p:graphicFrame>
        <p:nvGraphicFramePr>
          <p:cNvPr id="18" name="Таблица 17"/>
          <p:cNvGraphicFramePr>
            <a:graphicFrameLocks noGrp="1"/>
          </p:cNvGraphicFramePr>
          <p:nvPr/>
        </p:nvGraphicFramePr>
        <p:xfrm>
          <a:off x="735389" y="1114458"/>
          <a:ext cx="4850676" cy="5297730"/>
        </p:xfrm>
        <a:graphic>
          <a:graphicData uri="http://schemas.openxmlformats.org/drawingml/2006/table">
            <a:tbl>
              <a:tblPr firstRow="1" bandRow="1">
                <a:effectLst/>
                <a:tableStyleId>{35758FB7-9AC5-4552-8A53-C91805E547FA}</a:tableStyleId>
              </a:tblPr>
              <a:tblGrid>
                <a:gridCol w="1072391"/>
                <a:gridCol w="851831"/>
                <a:gridCol w="1147801"/>
                <a:gridCol w="797327"/>
                <a:gridCol w="981326"/>
              </a:tblGrid>
              <a:tr h="953463"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60532" marR="60532" marT="29614" marB="29614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800" dirty="0" smtClean="0">
                          <a:solidFill>
                            <a:srgbClr val="000000"/>
                          </a:solidFill>
                          <a:latin typeface="+mj-lt"/>
                        </a:rPr>
                        <a:t>Название конкурентов/ аналогов</a:t>
                      </a:r>
                      <a:endParaRPr lang="ru-RU" sz="80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800" dirty="0" smtClean="0">
                          <a:solidFill>
                            <a:srgbClr val="000000"/>
                          </a:solidFill>
                          <a:latin typeface="+mj-lt"/>
                        </a:rPr>
                        <a:t>Название компании/ продукта проекта</a:t>
                      </a:r>
                      <a:endParaRPr lang="ru-RU" sz="80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800" dirty="0" smtClean="0">
                          <a:solidFill>
                            <a:srgbClr val="000000"/>
                          </a:solidFill>
                          <a:latin typeface="+mj-lt"/>
                        </a:rPr>
                        <a:t>Название конкурентов/ аналогов</a:t>
                      </a:r>
                      <a:endParaRPr lang="ru-RU" sz="80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800" dirty="0" smtClean="0">
                          <a:solidFill>
                            <a:srgbClr val="000000"/>
                          </a:solidFill>
                          <a:latin typeface="+mj-lt"/>
                        </a:rPr>
                        <a:t>Название конкурентов/ аналогов</a:t>
                      </a:r>
                      <a:endParaRPr lang="ru-RU" sz="80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843037">
                <a:tc>
                  <a:txBody>
                    <a:bodyPr/>
                    <a:lstStyle/>
                    <a:p>
                      <a:pPr algn="l"/>
                      <a:r>
                        <a:rPr lang="ru-RU" sz="900" b="1" dirty="0" smtClean="0">
                          <a:latin typeface="+mj-lt"/>
                        </a:rPr>
                        <a:t>Ключевые характеристики компании/</a:t>
                      </a:r>
                      <a:r>
                        <a:rPr lang="ru-RU" sz="900" b="1" baseline="0" dirty="0" smtClean="0">
                          <a:latin typeface="+mj-lt"/>
                        </a:rPr>
                        <a:t> продукта</a:t>
                      </a:r>
                      <a:endParaRPr lang="ru-RU" sz="900" b="1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843037">
                <a:tc>
                  <a:txBody>
                    <a:bodyPr/>
                    <a:lstStyle/>
                    <a:p>
                      <a:pPr algn="l"/>
                      <a:r>
                        <a:rPr lang="ru-RU" sz="900" b="1" dirty="0" smtClean="0">
                          <a:latin typeface="+mj-lt"/>
                        </a:rPr>
                        <a:t>Ключевые характеристики компании/</a:t>
                      </a:r>
                      <a:r>
                        <a:rPr lang="ru-RU" sz="900" b="1" baseline="0" dirty="0" smtClean="0">
                          <a:latin typeface="+mj-lt"/>
                        </a:rPr>
                        <a:t> продукта</a:t>
                      </a:r>
                      <a:endParaRPr lang="ru-RU" sz="900" b="1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843037">
                <a:tc>
                  <a:txBody>
                    <a:bodyPr/>
                    <a:lstStyle/>
                    <a:p>
                      <a:pPr algn="l"/>
                      <a:r>
                        <a:rPr lang="ru-RU" sz="900" b="1" smtClean="0">
                          <a:latin typeface="+mj-lt"/>
                        </a:rPr>
                        <a:t>Ключевые характеристики компании/</a:t>
                      </a:r>
                      <a:r>
                        <a:rPr lang="ru-RU" sz="900" b="1" baseline="0" smtClean="0">
                          <a:latin typeface="+mj-lt"/>
                        </a:rPr>
                        <a:t> продукта</a:t>
                      </a:r>
                      <a:endParaRPr lang="ru-RU" sz="900" b="1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843037">
                <a:tc>
                  <a:txBody>
                    <a:bodyPr/>
                    <a:lstStyle/>
                    <a:p>
                      <a:pPr algn="l"/>
                      <a:r>
                        <a:rPr lang="ru-RU" sz="900" b="1" smtClean="0">
                          <a:latin typeface="+mj-lt"/>
                        </a:rPr>
                        <a:t>Ключевые характеристики компании/</a:t>
                      </a:r>
                      <a:r>
                        <a:rPr lang="ru-RU" sz="900" b="1" baseline="0" smtClean="0">
                          <a:latin typeface="+mj-lt"/>
                        </a:rPr>
                        <a:t> продукта</a:t>
                      </a:r>
                      <a:endParaRPr lang="ru-RU" sz="900" b="1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972119">
                <a:tc>
                  <a:txBody>
                    <a:bodyPr/>
                    <a:lstStyle/>
                    <a:p>
                      <a:pPr algn="l"/>
                      <a:r>
                        <a:rPr lang="ru-RU" sz="900" b="1" dirty="0" smtClean="0">
                          <a:latin typeface="+mj-lt"/>
                        </a:rPr>
                        <a:t>Ключевые характеристики компании/</a:t>
                      </a:r>
                      <a:r>
                        <a:rPr lang="ru-RU" sz="900" b="1" baseline="0" dirty="0" smtClean="0">
                          <a:latin typeface="+mj-lt"/>
                        </a:rPr>
                        <a:t> продукта</a:t>
                      </a:r>
                      <a:endParaRPr lang="ru-RU" sz="900" b="1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9" name="Rounded Rectangle 2099"/>
          <p:cNvSpPr/>
          <p:nvPr/>
        </p:nvSpPr>
        <p:spPr>
          <a:xfrm>
            <a:off x="6290291" y="1525932"/>
            <a:ext cx="2774353" cy="4731954"/>
          </a:xfrm>
          <a:prstGeom prst="roundRect">
            <a:avLst>
              <a:gd name="adj" fmla="val 6236"/>
            </a:avLst>
          </a:prstGeom>
          <a:solidFill>
            <a:schemeClr val="bg1"/>
          </a:solidFill>
          <a:ln w="6350">
            <a:solidFill>
              <a:schemeClr val="bg1">
                <a:lumMod val="65000"/>
              </a:schemeClr>
            </a:solidFill>
          </a:ln>
        </p:spPr>
        <p:txBody>
          <a:bodyPr wrap="square" lIns="65309" tIns="32654" rIns="65309" bIns="32654" anchor="ctr">
            <a:noAutofit/>
          </a:bodyPr>
          <a:lstStyle/>
          <a:p>
            <a:pPr algn="ctr">
              <a:spcAft>
                <a:spcPts val="855"/>
              </a:spcAft>
            </a:pPr>
            <a:r>
              <a:rPr lang="ru-RU" sz="1145" dirty="0">
                <a:solidFill>
                  <a:schemeClr val="tx2"/>
                </a:solidFill>
                <a:latin typeface="Calibri Light" panose="020F0302020204030204"/>
                <a:ea typeface="Helvetica Neue" charset="0"/>
                <a:cs typeface="Helvetica Neue" charset="0"/>
              </a:rPr>
              <a:t>Конкурентные преимущества продукта </a:t>
            </a:r>
          </a:p>
          <a:p>
            <a:pPr marL="129540" indent="-129540">
              <a:spcAft>
                <a:spcPts val="430"/>
              </a:spcAft>
              <a:buFont typeface="Arial" panose="020B0604020202020204" pitchFamily="34" charset="0"/>
              <a:buChar char="•"/>
            </a:pPr>
            <a:r>
              <a:rPr lang="ru-RU" sz="855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/>
                <a:ea typeface="Helvetica Neue" charset="0"/>
                <a:cs typeface="Helvetica Neue" charset="0"/>
              </a:rPr>
              <a:t>….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32520" y="207927"/>
            <a:ext cx="1274644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5" b="1" dirty="0" smtClean="0"/>
              <a:t>Бизнес-модель</a:t>
            </a:r>
            <a:endParaRPr lang="ru-RU" sz="1285" b="1" dirty="0"/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>
            <a:off x="381000" y="754417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361820" y="-17097"/>
            <a:ext cx="8851265" cy="57340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ru-RU" sz="1570" b="1" cap="all" dirty="0">
                <a:sym typeface="+mn-ea"/>
              </a:rPr>
              <a:t>ОРГАНИЗАЦИЯ СИСТЕМЫ КОГНИТИВНОГО РАДИО НА ПЛАТФОРМЕ ИМЕЮЩИХСЯ ТЕХНОЛОГИЙ В РФ</a:t>
            </a:r>
            <a:endParaRPr lang="ru-RU" sz="1570" dirty="0"/>
          </a:p>
          <a:p>
            <a:endParaRPr lang="ru-RU" sz="1570" dirty="0"/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530017" y="1165891"/>
            <a:ext cx="8676736" cy="5378343"/>
          </a:xfrm>
          <a:prstGeom prst="roundRect">
            <a:avLst>
              <a:gd name="adj" fmla="val 2129"/>
            </a:avLst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285" b="1" dirty="0">
                <a:solidFill>
                  <a:schemeClr val="accent1">
                    <a:lumMod val="50000"/>
                  </a:schemeClr>
                </a:solidFill>
              </a:rPr>
              <a:t>  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</a:rPr>
              <a:t>Бизнес-модель Остервальдера</a:t>
            </a:r>
            <a:br>
              <a:rPr lang="ru-RU" sz="1400" b="1" dirty="0">
                <a:solidFill>
                  <a:schemeClr val="accent1">
                    <a:lumMod val="50000"/>
                  </a:schemeClr>
                </a:solidFill>
              </a:rPr>
            </a:br>
            <a:r>
              <a:rPr lang="ru-RU" sz="1285" b="1" dirty="0">
                <a:solidFill>
                  <a:schemeClr val="accent1">
                    <a:lumMod val="50000"/>
                  </a:schemeClr>
                </a:solidFill>
              </a:rPr>
              <a:t/>
            </a:r>
            <a:br>
              <a:rPr lang="ru-RU" sz="1285" b="1" dirty="0">
                <a:solidFill>
                  <a:schemeClr val="accent1">
                    <a:lumMod val="50000"/>
                  </a:schemeClr>
                </a:solidFill>
              </a:rPr>
            </a:br>
            <a:r>
              <a:rPr lang="en-US" altLang="ru-RU" sz="1285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1285" i="1" dirty="0">
                <a:solidFill>
                  <a:schemeClr val="accent1">
                    <a:lumMod val="50000"/>
                  </a:schemeClr>
                </a:solidFill>
              </a:rPr>
              <a:t>Ключевые партнеры   </a:t>
            </a:r>
            <a:r>
              <a:rPr lang="ru-RU" sz="1285" b="1" dirty="0">
                <a:solidFill>
                  <a:schemeClr val="accent1">
                    <a:lumMod val="50000"/>
                  </a:schemeClr>
                </a:solidFill>
              </a:rPr>
              <a:t>                                       </a:t>
            </a:r>
          </a:p>
          <a:p>
            <a:r>
              <a:rPr lang="ru-RU" sz="1285" b="1" dirty="0">
                <a:solidFill>
                  <a:schemeClr val="accent1">
                    <a:lumMod val="50000"/>
                  </a:schemeClr>
                </a:solidFill>
              </a:rPr>
              <a:t>1.Поставщики оборудования </a:t>
            </a:r>
          </a:p>
          <a:p>
            <a:r>
              <a:rPr lang="ru-RU" sz="1285" b="1" dirty="0">
                <a:solidFill>
                  <a:schemeClr val="accent1">
                    <a:lumMod val="50000"/>
                  </a:schemeClr>
                </a:solidFill>
              </a:rPr>
              <a:t>2.Операторы сотовой связи</a:t>
            </a:r>
            <a:br>
              <a:rPr lang="ru-RU" sz="1285" b="1" dirty="0">
                <a:solidFill>
                  <a:schemeClr val="accent1">
                    <a:lumMod val="50000"/>
                  </a:schemeClr>
                </a:solidFill>
              </a:rPr>
            </a:br>
            <a:endParaRPr lang="ru-RU" sz="1285" b="1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ru-RU" sz="1285" i="1" dirty="0">
                <a:solidFill>
                  <a:schemeClr val="accent1">
                    <a:lumMod val="50000"/>
                  </a:schemeClr>
                </a:solidFill>
              </a:rPr>
              <a:t>Ценностные предложения  </a:t>
            </a:r>
          </a:p>
          <a:p>
            <a:r>
              <a:rPr lang="ru-RU" sz="1285" b="1" dirty="0">
                <a:solidFill>
                  <a:schemeClr val="accent1">
                    <a:lumMod val="50000"/>
                  </a:schemeClr>
                </a:solidFill>
              </a:rPr>
              <a:t>1.Уникальность продукта, не имеющий аналогов на Российском рынке. </a:t>
            </a:r>
          </a:p>
          <a:p>
            <a:r>
              <a:rPr lang="ru-RU" sz="1285" b="1" dirty="0">
                <a:solidFill>
                  <a:schemeClr val="accent1">
                    <a:lumMod val="50000"/>
                  </a:schemeClr>
                </a:solidFill>
              </a:rPr>
              <a:t>2.Отечественная продукция</a:t>
            </a:r>
          </a:p>
          <a:p>
            <a:endParaRPr lang="ru-RU" sz="1285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32520" y="207927"/>
            <a:ext cx="1943224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5" b="1" dirty="0"/>
              <a:t>Финансовые показатели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381000" y="754417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361820" y="-17097"/>
            <a:ext cx="8851265" cy="57340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ru-RU" sz="1570" b="1" cap="all" dirty="0">
                <a:sym typeface="+mn-ea"/>
              </a:rPr>
              <a:t>ОРГАНИЗАЦИЯ СИСТЕМЫ КОГНИТИВНОГО РАДИО НА ПЛАТФОРМЕ ИМЕЮЩИХСЯ ТЕХНОЛОГИЙ В РФ</a:t>
            </a:r>
            <a:endParaRPr lang="ru-RU" sz="1570" dirty="0"/>
          </a:p>
          <a:p>
            <a:endParaRPr lang="ru-RU" sz="1570" dirty="0"/>
          </a:p>
        </p:txBody>
      </p:sp>
      <p:graphicFrame>
        <p:nvGraphicFramePr>
          <p:cNvPr id="18" name="Таблица 17"/>
          <p:cNvGraphicFramePr>
            <a:graphicFrameLocks noGrp="1"/>
          </p:cNvGraphicFramePr>
          <p:nvPr/>
        </p:nvGraphicFramePr>
        <p:xfrm>
          <a:off x="683954" y="5648167"/>
          <a:ext cx="8492018" cy="661153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2109845"/>
                <a:gridCol w="1796408"/>
                <a:gridCol w="917153"/>
                <a:gridCol w="917153"/>
                <a:gridCol w="917153"/>
                <a:gridCol w="917153"/>
                <a:gridCol w="917153"/>
              </a:tblGrid>
              <a:tr h="238062">
                <a:tc rowSpan="2">
                  <a:txBody>
                    <a:bodyPr/>
                    <a:lstStyle/>
                    <a:p>
                      <a:pPr marL="9525" indent="-952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Целевые</a:t>
                      </a:r>
                      <a:r>
                        <a:rPr lang="ru-RU" sz="900" b="1" baseline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 п</a:t>
                      </a:r>
                      <a:r>
                        <a:rPr lang="ru-RU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оказатели проекта</a:t>
                      </a:r>
                      <a:endParaRPr lang="ru-RU" sz="9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Helvetica Neue" charset="0"/>
                        <a:cs typeface="Helvetica Neue" charset="0"/>
                      </a:endParaRP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Единицы измерения</a:t>
                      </a: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8255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Плановое значение </a:t>
                      </a:r>
                      <a:r>
                        <a:rPr lang="ru-RU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по </a:t>
                      </a: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периодам</a:t>
                      </a: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246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68580" marR="68580" marT="0" marB="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68580" marR="6858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68580" marR="6858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</a:tr>
              <a:tr h="15983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 marL="68580" marR="68580" marT="0" marB="0">
                    <a:lnL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 marL="68580" marR="68580" marT="0" marB="0">
                    <a:lnL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en-US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20</a:t>
                      </a:r>
                      <a:r>
                        <a:rPr lang="ru-RU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__г</a:t>
                      </a: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.</a:t>
                      </a:r>
                      <a:endParaRPr lang="ru-RU" sz="9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/>
                        <a:cs typeface="Arial" panose="020B0604020202020204" pitchFamily="34" charset="0"/>
                      </a:endParaRP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en-US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20</a:t>
                      </a:r>
                      <a:r>
                        <a:rPr lang="ru-RU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__г</a:t>
                      </a: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.</a:t>
                      </a:r>
                      <a:endParaRPr lang="ru-RU" sz="9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/>
                        <a:cs typeface="Arial" panose="020B0604020202020204" pitchFamily="34" charset="0"/>
                      </a:endParaRP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en-US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20</a:t>
                      </a:r>
                      <a:r>
                        <a:rPr lang="ru-RU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__</a:t>
                      </a:r>
                      <a:r>
                        <a:rPr lang="ru-RU" sz="900" b="1" baseline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г.</a:t>
                      </a:r>
                      <a:endParaRPr lang="ru-RU" sz="9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/>
                        <a:cs typeface="Arial" panose="020B0604020202020204" pitchFamily="34" charset="0"/>
                      </a:endParaRP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en-US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anose="020F0502020204030204"/>
                          <a:cs typeface="Arial" panose="020B0604020202020204" pitchFamily="34" charset="0"/>
                        </a:rPr>
                        <a:t>20</a:t>
                      </a:r>
                      <a:r>
                        <a:rPr lang="ru-RU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anose="020F0502020204030204"/>
                          <a:cs typeface="Arial" panose="020B0604020202020204" pitchFamily="34" charset="0"/>
                        </a:rPr>
                        <a:t>__</a:t>
                      </a:r>
                      <a:r>
                        <a:rPr lang="en-US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anose="020F0502020204030204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anose="020F0502020204030204"/>
                          <a:cs typeface="Arial" panose="020B0604020202020204" pitchFamily="34" charset="0"/>
                        </a:rPr>
                        <a:t>г.</a:t>
                      </a: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en-US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20</a:t>
                      </a:r>
                      <a:r>
                        <a:rPr lang="ru-RU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__г</a:t>
                      </a: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.</a:t>
                      </a:r>
                      <a:endParaRPr lang="ru-RU" sz="9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/>
                        <a:cs typeface="Arial" panose="020B0604020202020204" pitchFamily="34" charset="0"/>
                      </a:endParaRP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63255">
                <a:tc>
                  <a:txBody>
                    <a:bodyPr/>
                    <a:lstStyle/>
                    <a:p>
                      <a:pPr marL="8255" indent="-8255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Объем выручки</a:t>
                      </a:r>
                      <a:endParaRPr lang="ru-RU" sz="900" b="1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Helvetica Neue" charset="0"/>
                        <a:cs typeface="Helvetica Neue" charset="0"/>
                      </a:endParaRP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marR="0" indent="-45720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млн. </a:t>
                      </a:r>
                      <a:r>
                        <a:rPr lang="ru-RU" sz="900" kern="1200" dirty="0" err="1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руб</a:t>
                      </a:r>
                      <a:endParaRPr lang="ru-RU" sz="900" kern="1200" dirty="0" smtClean="0">
                        <a:solidFill>
                          <a:schemeClr val="tx1"/>
                        </a:solidFill>
                        <a:effectLst/>
                        <a:latin typeface="+mj-lt"/>
                        <a:ea typeface="Helvetica Neue" charset="0"/>
                        <a:cs typeface="Helvetica Neue" charset="0"/>
                      </a:endParaRP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0</a:t>
                      </a: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0</a:t>
                      </a: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0</a:t>
                      </a: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0</a:t>
                      </a: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indent="-4572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20</a:t>
                      </a:r>
                      <a:endParaRPr lang="ru-RU" sz="900" dirty="0">
                        <a:effectLst/>
                        <a:latin typeface="+mj-lt"/>
                        <a:ea typeface="Helvetica Neue" charset="0"/>
                        <a:cs typeface="Helvetica Neue" charset="0"/>
                      </a:endParaRP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9" name="Rounded Rectangle 2099"/>
          <p:cNvSpPr/>
          <p:nvPr/>
        </p:nvSpPr>
        <p:spPr>
          <a:xfrm>
            <a:off x="7324337" y="1572978"/>
            <a:ext cx="1851634" cy="2029930"/>
          </a:xfrm>
          <a:prstGeom prst="roundRect">
            <a:avLst>
              <a:gd name="adj" fmla="val 3557"/>
            </a:avLst>
          </a:prstGeom>
          <a:solidFill>
            <a:schemeClr val="bg1"/>
          </a:solidFill>
          <a:ln w="6350">
            <a:solidFill>
              <a:schemeClr val="bg1">
                <a:lumMod val="65000"/>
              </a:schemeClr>
            </a:solidFill>
          </a:ln>
        </p:spPr>
        <p:txBody>
          <a:bodyPr wrap="square" lIns="65311" tIns="32655" rIns="65311" bIns="32655" anchor="ctr">
            <a:spAutoFit/>
          </a:bodyPr>
          <a:lstStyle/>
          <a:p>
            <a:pPr algn="ctr">
              <a:spcAft>
                <a:spcPts val="855"/>
              </a:spcAft>
            </a:pPr>
            <a:r>
              <a:rPr lang="ru-RU" sz="1145" dirty="0">
                <a:solidFill>
                  <a:schemeClr val="tx2"/>
                </a:solidFill>
                <a:latin typeface="Calibri Light" panose="020F0302020204030204"/>
                <a:ea typeface="Helvetica Neue" charset="0"/>
                <a:cs typeface="Helvetica Neue" charset="0"/>
              </a:rPr>
              <a:t>Стратегия выхода </a:t>
            </a:r>
            <a:br>
              <a:rPr lang="ru-RU" sz="1145" dirty="0">
                <a:solidFill>
                  <a:schemeClr val="tx2"/>
                </a:solidFill>
                <a:latin typeface="Calibri Light" panose="020F0302020204030204"/>
                <a:ea typeface="Helvetica Neue" charset="0"/>
                <a:cs typeface="Helvetica Neue" charset="0"/>
              </a:rPr>
            </a:br>
            <a:r>
              <a:rPr lang="ru-RU" sz="1145" dirty="0">
                <a:solidFill>
                  <a:schemeClr val="tx2"/>
                </a:solidFill>
                <a:latin typeface="Calibri Light" panose="020F0302020204030204"/>
                <a:ea typeface="Helvetica Neue" charset="0"/>
                <a:cs typeface="Helvetica Neue" charset="0"/>
              </a:rPr>
              <a:t>из проекта для инвесторов: </a:t>
            </a:r>
          </a:p>
          <a:p>
            <a:pPr>
              <a:spcAft>
                <a:spcPts val="430"/>
              </a:spcAft>
            </a:pPr>
            <a:r>
              <a:rPr lang="ru-RU" sz="1000" spc="71" dirty="0">
                <a:solidFill>
                  <a:schemeClr val="accent1">
                    <a:lumMod val="75000"/>
                  </a:schemeClr>
                </a:solidFill>
              </a:rPr>
              <a:t>Заполняется только для проектов с желаемой формой финансирования «взнос в уставной капитал» рекомендуется указать стратегии выхода из проекта для </a:t>
            </a:r>
            <a:r>
              <a:rPr lang="ru-RU" sz="1000" spc="71" dirty="0" smtClean="0">
                <a:solidFill>
                  <a:schemeClr val="accent1">
                    <a:lumMod val="75000"/>
                  </a:schemeClr>
                </a:solidFill>
              </a:rPr>
              <a:t>инвесторов</a:t>
            </a:r>
          </a:p>
          <a:p>
            <a:pPr>
              <a:spcAft>
                <a:spcPts val="430"/>
              </a:spcAft>
            </a:pPr>
            <a:endParaRPr lang="ru-RU" sz="1000" spc="7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0" name="Rounded Rectangle 2099"/>
          <p:cNvSpPr/>
          <p:nvPr/>
        </p:nvSpPr>
        <p:spPr>
          <a:xfrm>
            <a:off x="683954" y="4614528"/>
            <a:ext cx="8492016" cy="525964"/>
          </a:xfrm>
          <a:prstGeom prst="roundRect">
            <a:avLst>
              <a:gd name="adj" fmla="val 6236"/>
            </a:avLst>
          </a:prstGeom>
          <a:solidFill>
            <a:schemeClr val="bg1"/>
          </a:solidFill>
          <a:ln w="6350">
            <a:solidFill>
              <a:schemeClr val="bg1">
                <a:lumMod val="65000"/>
              </a:schemeClr>
            </a:solidFill>
          </a:ln>
        </p:spPr>
        <p:txBody>
          <a:bodyPr wrap="square" lIns="65311" tIns="32655" rIns="65311" bIns="32655" anchor="ctr">
            <a:spAutoFit/>
          </a:bodyPr>
          <a:lstStyle/>
          <a:p>
            <a:pPr algn="ctr">
              <a:spcAft>
                <a:spcPts val="855"/>
              </a:spcAft>
            </a:pPr>
            <a:r>
              <a:rPr lang="ru-RU" sz="1145" dirty="0">
                <a:solidFill>
                  <a:schemeClr val="tx2"/>
                </a:solidFill>
                <a:latin typeface="Calibri Light" panose="020F0302020204030204"/>
                <a:ea typeface="Helvetica Neue" charset="0"/>
                <a:cs typeface="Helvetica Neue" charset="0"/>
              </a:rPr>
              <a:t>Бюджетные деньги, ранее </a:t>
            </a:r>
            <a:r>
              <a:rPr lang="ru-RU" sz="1145" dirty="0" err="1">
                <a:solidFill>
                  <a:schemeClr val="tx2"/>
                </a:solidFill>
                <a:latin typeface="Calibri Light" panose="020F0302020204030204"/>
                <a:ea typeface="Helvetica Neue" charset="0"/>
                <a:cs typeface="Helvetica Neue" charset="0"/>
              </a:rPr>
              <a:t>привлекавшиеся</a:t>
            </a:r>
            <a:r>
              <a:rPr lang="ru-RU" sz="1145" dirty="0">
                <a:solidFill>
                  <a:schemeClr val="tx2"/>
                </a:solidFill>
                <a:latin typeface="Calibri Light" panose="020F0302020204030204"/>
                <a:ea typeface="Helvetica Neue" charset="0"/>
                <a:cs typeface="Helvetica Neue" charset="0"/>
              </a:rPr>
              <a:t> для финансирования проекта:</a:t>
            </a:r>
          </a:p>
          <a:p>
            <a:pPr>
              <a:spcAft>
                <a:spcPts val="430"/>
              </a:spcAft>
            </a:pPr>
            <a:r>
              <a:rPr lang="ru-RU" sz="1000" spc="71" dirty="0">
                <a:solidFill>
                  <a:schemeClr val="accent1">
                    <a:lumMod val="75000"/>
                  </a:schemeClr>
                </a:solidFill>
              </a:rPr>
              <a:t>Перечисляются источники получения, размеры и сроки.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750097" y="1185179"/>
            <a:ext cx="6405279" cy="29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85" dirty="0">
                <a:solidFill>
                  <a:schemeClr val="accent1">
                    <a:lumMod val="50000"/>
                  </a:schemeClr>
                </a:solidFill>
              </a:rPr>
              <a:t>Модель коммерциализации проекта: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690395" y="1124216"/>
            <a:ext cx="6480720" cy="3127733"/>
          </a:xfrm>
          <a:prstGeom prst="roundRect">
            <a:avLst>
              <a:gd name="adj" fmla="val 2129"/>
            </a:avLst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85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Тема Office">
  <a:themeElements>
    <a:clrScheme name="НТИ">
      <a:dk1>
        <a:srgbClr val="0C0C0C"/>
      </a:dk1>
      <a:lt1>
        <a:sysClr val="window" lastClr="FFFFFF"/>
      </a:lt1>
      <a:dk2>
        <a:srgbClr val="0C0C0C"/>
      </a:dk2>
      <a:lt2>
        <a:srgbClr val="FFFFFF"/>
      </a:lt2>
      <a:accent1>
        <a:srgbClr val="8E708F"/>
      </a:accent1>
      <a:accent2>
        <a:srgbClr val="71A2C3"/>
      </a:accent2>
      <a:accent3>
        <a:srgbClr val="C8B1AC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Тема Office">
  <a:themeElements>
    <a:clrScheme name="НТИ">
      <a:dk1>
        <a:srgbClr val="0C0C0C"/>
      </a:dk1>
      <a:lt1>
        <a:sysClr val="window" lastClr="FFFFFF"/>
      </a:lt1>
      <a:dk2>
        <a:srgbClr val="0C0C0C"/>
      </a:dk2>
      <a:lt2>
        <a:srgbClr val="FFFFFF"/>
      </a:lt2>
      <a:accent1>
        <a:srgbClr val="8E708F"/>
      </a:accent1>
      <a:accent2>
        <a:srgbClr val="71A2C3"/>
      </a:accent2>
      <a:accent3>
        <a:srgbClr val="C8B1AC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4060778A680BE145B3E171F8BCE5FCC2" ma:contentTypeVersion="10" ma:contentTypeDescription="Создание документа." ma:contentTypeScope="" ma:versionID="48cf80f593d2d0fa224fb36be141b76a">
  <xsd:schema xmlns:xsd="http://www.w3.org/2001/XMLSchema" xmlns:xs="http://www.w3.org/2001/XMLSchema" xmlns:p="http://schemas.microsoft.com/office/2006/metadata/properties" xmlns:ns2="69cc3dea-af89-41ea-b8da-7ab11462d30a" xmlns:ns3="d8b453d6-be7a-4931-bedf-235701e60354" targetNamespace="http://schemas.microsoft.com/office/2006/metadata/properties" ma:root="true" ma:fieldsID="5a12abfc72ef197ef8bcff461a1448d9" ns2:_="" ns3:_="">
    <xsd:import namespace="69cc3dea-af89-41ea-b8da-7ab11462d30a"/>
    <xsd:import namespace="d8b453d6-be7a-4931-bedf-235701e60354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EventHashCode" minOccurs="0"/>
                <xsd:element ref="ns3:MediaServiceGenerationTime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cc3dea-af89-41ea-b8da-7ab11462d30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Общий доступ с использованием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Совместно с подробностями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8b453d6-be7a-4931-bedf-235701e6035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15F2574-6B2D-4151-B4E6-5F2B862C21E6}">
  <ds:schemaRefs>
    <ds:schemaRef ds:uri="http://purl.org/dc/terms/"/>
    <ds:schemaRef ds:uri="d8b453d6-be7a-4931-bedf-235701e60354"/>
    <ds:schemaRef ds:uri="69cc3dea-af89-41ea-b8da-7ab11462d30a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AB0319F3-832D-4CD2-8CE3-1288F9B2FAB5}">
  <ds:schemaRefs/>
</ds:datastoreItem>
</file>

<file path=customXml/itemProps3.xml><?xml version="1.0" encoding="utf-8"?>
<ds:datastoreItem xmlns:ds="http://schemas.openxmlformats.org/officeDocument/2006/customXml" ds:itemID="{5D80CA30-6DA9-45CC-B03D-6C7DFE6270DC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on</Template>
  <TotalTime>1</TotalTime>
  <Words>857</Words>
  <Application>Microsoft Office PowerPoint</Application>
  <PresentationFormat>Лист A4 (210x297 мм)</PresentationFormat>
  <Paragraphs>269</Paragraphs>
  <Slides>21</Slides>
  <Notes>9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1</vt:i4>
      </vt:variant>
    </vt:vector>
  </HeadingPairs>
  <TitlesOfParts>
    <vt:vector size="24" baseType="lpstr">
      <vt:lpstr>1_Тема Office</vt:lpstr>
      <vt:lpstr>2_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Набор иконок для визуализации моделей</vt:lpstr>
      <vt:lpstr>Набор иконок для визуализации моделей</vt:lpstr>
      <vt:lpstr>Набор иконок для визуализации моделей</vt:lpstr>
      <vt:lpstr>Набор иконок для визуализации моделей</vt:lpstr>
      <vt:lpstr>Набор иконок для визуализации моделей</vt:lpstr>
      <vt:lpstr>Набор иконок для визуализации моделей</vt:lpstr>
      <vt:lpstr>Набор иконок для визуализации моделей</vt:lpstr>
      <vt:lpstr>Набор иконок для визуализации моделей</vt:lpstr>
      <vt:lpstr>Набор иконок для визуализации моделей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Буассонад Георгий Владимирович</dc:creator>
  <cp:lastModifiedBy>Иван</cp:lastModifiedBy>
  <cp:revision>373</cp:revision>
  <cp:lastPrinted>2017-09-07T15:28:00Z</cp:lastPrinted>
  <dcterms:created xsi:type="dcterms:W3CDTF">2016-03-23T11:46:00Z</dcterms:created>
  <dcterms:modified xsi:type="dcterms:W3CDTF">2023-11-09T16:31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060778A680BE145B3E171F8BCE5FCC2</vt:lpwstr>
  </property>
  <property fmtid="{D5CDD505-2E9C-101B-9397-08002B2CF9AE}" pid="3" name="ICV">
    <vt:lpwstr>8E9E564F9F9D4507B22EFEF1E8C465CB_12</vt:lpwstr>
  </property>
  <property fmtid="{D5CDD505-2E9C-101B-9397-08002B2CF9AE}" pid="4" name="KSOProductBuildVer">
    <vt:lpwstr>1033-12.2.0.13266</vt:lpwstr>
  </property>
</Properties>
</file>